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7" r:id="rId4"/>
  </p:sldMasterIdLst>
  <p:notesMasterIdLst>
    <p:notesMasterId r:id="rId9"/>
  </p:notesMasterIdLst>
  <p:sldIdLst>
    <p:sldId id="256" r:id="rId5"/>
    <p:sldId id="2147347834" r:id="rId6"/>
    <p:sldId id="2147347833" r:id="rId7"/>
    <p:sldId id="301" r:id="rId8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2838BEF-8BB2-4498-84A7-C5851F593DF1}" styleName="Mellanmörkt format 4 - Dekorfärg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1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6B1632-E108-4FD3-BCF0-2B6E96518E0C}" type="datetimeFigureOut">
              <a:rPr lang="sv-SE" smtClean="0"/>
              <a:t>2023-12-11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8A8E5F-BD1F-45D4-88BF-9C49B6D8C463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296348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AAD6F3-EC9F-CF48-99E7-2F18019CBFB6}" type="slidenum">
              <a:rPr lang="sv-SE" smtClean="0"/>
              <a:pPr/>
              <a:t>1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0074238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D55837-3345-415A-9CD7-A3DC6B1ED0D5}" type="slidenum">
              <a:rPr lang="sv-SE" smtClean="0"/>
              <a:pPr/>
              <a:t>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887349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D55837-3345-415A-9CD7-A3DC6B1ED0D5}" type="slidenum">
              <a:rPr lang="sv-SE" smtClean="0"/>
              <a:pPr/>
              <a:t>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588739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8A8E5F-BD1F-45D4-88BF-9C49B6D8C463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41372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6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6.emf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bild, utfall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solidFill>
            <a:schemeClr val="accent5"/>
          </a:solidFill>
        </p:spPr>
        <p:txBody>
          <a:bodyPr tIns="72000" anchor="t">
            <a:normAutofit/>
          </a:bodyPr>
          <a:lstStyle>
            <a:lvl1pPr algn="ctr">
              <a:defRPr sz="1333"/>
            </a:lvl1pPr>
          </a:lstStyle>
          <a:p>
            <a:r>
              <a:rPr lang="sv-SE"/>
              <a:t>Klicka här och infoga bild via knappen Bild i menyflik Infoga</a:t>
            </a: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78367" y="1344000"/>
            <a:ext cx="11235267" cy="2376000"/>
          </a:xfrm>
          <a:effectLst/>
        </p:spPr>
        <p:txBody>
          <a:bodyPr anchor="b"/>
          <a:lstStyle>
            <a:lvl1pPr algn="ctr">
              <a:lnSpc>
                <a:spcPct val="85000"/>
              </a:lnSpc>
              <a:defRPr sz="5333" kern="0" spc="-107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Lägg till rubrik</a:t>
            </a:r>
          </a:p>
        </p:txBody>
      </p:sp>
      <p:sp>
        <p:nvSpPr>
          <p:cNvPr id="7" name="Platshållare för text 6"/>
          <p:cNvSpPr>
            <a:spLocks noGrp="1"/>
          </p:cNvSpPr>
          <p:nvPr>
            <p:ph type="body" sz="quarter" idx="13" hasCustomPrompt="1"/>
          </p:nvPr>
        </p:nvSpPr>
        <p:spPr>
          <a:xfrm>
            <a:off x="478367" y="3888001"/>
            <a:ext cx="11235267" cy="1306300"/>
          </a:xfrm>
        </p:spPr>
        <p:txBody>
          <a:bodyPr>
            <a:normAutofit/>
          </a:bodyPr>
          <a:lstStyle>
            <a:lvl1pPr algn="ctr">
              <a:lnSpc>
                <a:spcPct val="95000"/>
              </a:lnSpc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Lägg till underrubrik</a:t>
            </a:r>
          </a:p>
        </p:txBody>
      </p:sp>
    </p:spTree>
    <p:extLst>
      <p:ext uri="{BB962C8B-B14F-4D97-AF65-F5344CB8AC3E}">
        <p14:creationId xmlns:p14="http://schemas.microsoft.com/office/powerpoint/2010/main" val="27582016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bild, utfallande, rubrik vän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solidFill>
            <a:schemeClr val="accent5"/>
          </a:solidFill>
        </p:spPr>
        <p:txBody>
          <a:bodyPr tIns="72000" anchor="t">
            <a:normAutofit/>
          </a:bodyPr>
          <a:lstStyle>
            <a:lvl1pPr algn="ctr">
              <a:defRPr sz="1333"/>
            </a:lvl1pPr>
          </a:lstStyle>
          <a:p>
            <a:r>
              <a:rPr lang="sv-SE"/>
              <a:t>Klicka här och infoga bild via knappen Bild i menyflik Infoga</a:t>
            </a: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78367" y="2311400"/>
            <a:ext cx="4762500" cy="3649133"/>
          </a:xfrm>
          <a:effectLst/>
        </p:spPr>
        <p:txBody>
          <a:bodyPr anchor="t">
            <a:normAutofit/>
          </a:bodyPr>
          <a:lstStyle>
            <a:lvl1pPr algn="l">
              <a:lnSpc>
                <a:spcPct val="85000"/>
              </a:lnSpc>
              <a:defRPr sz="5333" kern="0" spc="-107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</a:t>
            </a:r>
            <a:br>
              <a:rPr lang="sv-SE"/>
            </a:br>
            <a:r>
              <a:rPr lang="sv-SE"/>
              <a:t>för att lägga till rubrik</a:t>
            </a:r>
          </a:p>
        </p:txBody>
      </p:sp>
      <p:sp>
        <p:nvSpPr>
          <p:cNvPr id="7" name="Platshållare för text 6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1" y="2385600"/>
            <a:ext cx="5617632" cy="3598933"/>
          </a:xfrm>
        </p:spPr>
        <p:txBody>
          <a:bodyPr anchor="t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Lägg till text. </a:t>
            </a:r>
          </a:p>
        </p:txBody>
      </p:sp>
    </p:spTree>
    <p:extLst>
      <p:ext uri="{BB962C8B-B14F-4D97-AF65-F5344CB8AC3E}">
        <p14:creationId xmlns:p14="http://schemas.microsoft.com/office/powerpoint/2010/main" val="42296874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bild, rubrik vänster, sidf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12192000" cy="5960535"/>
          </a:xfrm>
          <a:solidFill>
            <a:schemeClr val="accent5"/>
          </a:solidFill>
        </p:spPr>
        <p:txBody>
          <a:bodyPr tIns="72000" anchor="t">
            <a:normAutofit/>
          </a:bodyPr>
          <a:lstStyle>
            <a:lvl1pPr algn="ctr">
              <a:defRPr sz="1333" baseline="0"/>
            </a:lvl1pPr>
          </a:lstStyle>
          <a:p>
            <a:r>
              <a:rPr lang="sv-SE"/>
              <a:t>Klicka här och infoga bild via knappen Bild i menyflik Infoga</a:t>
            </a:r>
          </a:p>
        </p:txBody>
      </p:sp>
      <p:sp>
        <p:nvSpPr>
          <p:cNvPr id="6" name="Platshållare för datum 5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60C0102-1FF7-45FD-9BD4-39CBAEC74E05}" type="datetime1">
              <a:rPr lang="sv-SE" smtClean="0"/>
              <a:t>2023-12-11</a:t>
            </a:fld>
            <a:endParaRPr lang="sv-SE"/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sv-SE"/>
              <a:t>Sidfotstext (ändras under Meny Infoga och knappen Sidhuvud/Sidfot)</a:t>
            </a:r>
          </a:p>
        </p:txBody>
      </p:sp>
      <p:sp>
        <p:nvSpPr>
          <p:cNvPr id="10" name="Platshållare för bildnumm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Rubrik 1">
            <a:extLst>
              <a:ext uri="{FF2B5EF4-FFF2-40B4-BE49-F238E27FC236}">
                <a16:creationId xmlns:a16="http://schemas.microsoft.com/office/drawing/2014/main" id="{48F918F8-630B-4938-985C-5534B6A3F7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67" y="1968001"/>
            <a:ext cx="4762500" cy="3226300"/>
          </a:xfrm>
          <a:effectLst/>
        </p:spPr>
        <p:txBody>
          <a:bodyPr anchor="t">
            <a:normAutofit/>
          </a:bodyPr>
          <a:lstStyle>
            <a:lvl1pPr algn="l">
              <a:lnSpc>
                <a:spcPct val="85000"/>
              </a:lnSpc>
              <a:defRPr sz="5333" kern="0" spc="-107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</a:t>
            </a:r>
            <a:br>
              <a:rPr lang="sv-SE"/>
            </a:br>
            <a:r>
              <a:rPr lang="sv-SE"/>
              <a:t>för att lägga till rubrik</a:t>
            </a:r>
          </a:p>
        </p:txBody>
      </p:sp>
      <p:sp>
        <p:nvSpPr>
          <p:cNvPr id="12" name="Platshållare för text 6">
            <a:extLst>
              <a:ext uri="{FF2B5EF4-FFF2-40B4-BE49-F238E27FC236}">
                <a16:creationId xmlns:a16="http://schemas.microsoft.com/office/drawing/2014/main" id="{3A13E8D7-97BB-45CA-8B7E-2A21911C4A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1" y="2040001"/>
            <a:ext cx="5617632" cy="3178300"/>
          </a:xfrm>
        </p:spPr>
        <p:txBody>
          <a:bodyPr anchor="t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Lägg till text. </a:t>
            </a:r>
          </a:p>
        </p:txBody>
      </p:sp>
    </p:spTree>
    <p:extLst>
      <p:ext uri="{BB962C8B-B14F-4D97-AF65-F5344CB8AC3E}">
        <p14:creationId xmlns:p14="http://schemas.microsoft.com/office/powerpoint/2010/main" val="33514560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bild avdelar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78367" y="1350434"/>
            <a:ext cx="11235267" cy="1930401"/>
          </a:xfrm>
        </p:spPr>
        <p:txBody>
          <a:bodyPr anchor="b"/>
          <a:lstStyle>
            <a:lvl1pPr algn="ctr">
              <a:lnSpc>
                <a:spcPct val="85000"/>
              </a:lnSpc>
              <a:defRPr sz="5333" kern="0" spc="-107" baseline="0"/>
            </a:lvl1pPr>
          </a:lstStyle>
          <a:p>
            <a:r>
              <a:rPr lang="sv-SE"/>
              <a:t>Lägg till rubrik</a:t>
            </a:r>
          </a:p>
        </p:txBody>
      </p:sp>
      <p:sp>
        <p:nvSpPr>
          <p:cNvPr id="10" name="Platshållare för text 6"/>
          <p:cNvSpPr>
            <a:spLocks noGrp="1"/>
          </p:cNvSpPr>
          <p:nvPr>
            <p:ph type="body" sz="quarter" idx="13" hasCustomPrompt="1"/>
          </p:nvPr>
        </p:nvSpPr>
        <p:spPr>
          <a:xfrm>
            <a:off x="478367" y="4068234"/>
            <a:ext cx="11235267" cy="960967"/>
          </a:xfrm>
        </p:spPr>
        <p:txBody>
          <a:bodyPr/>
          <a:lstStyle>
            <a:lvl1pPr algn="ctr">
              <a:lnSpc>
                <a:spcPct val="95000"/>
              </a:lnSpc>
              <a:defRPr sz="2400"/>
            </a:lvl1pPr>
          </a:lstStyle>
          <a:p>
            <a:pPr lvl="0"/>
            <a:r>
              <a:rPr lang="sv-SE"/>
              <a:t>Lägg till underrubrik</a:t>
            </a:r>
          </a:p>
        </p:txBody>
      </p:sp>
      <p:sp>
        <p:nvSpPr>
          <p:cNvPr id="15" name="Frihandsfigur 14"/>
          <p:cNvSpPr>
            <a:spLocks noChangeAspect="1"/>
          </p:cNvSpPr>
          <p:nvPr userDrawn="1"/>
        </p:nvSpPr>
        <p:spPr>
          <a:xfrm>
            <a:off x="3456000" y="3602178"/>
            <a:ext cx="5280000" cy="144713"/>
          </a:xfrm>
          <a:custGeom>
            <a:avLst/>
            <a:gdLst>
              <a:gd name="connsiteX0" fmla="*/ 0 w 4997450"/>
              <a:gd name="connsiteY0" fmla="*/ 3176 h 117477"/>
              <a:gd name="connsiteX1" fmla="*/ 355600 w 4997450"/>
              <a:gd name="connsiteY1" fmla="*/ 117476 h 117477"/>
              <a:gd name="connsiteX2" fmla="*/ 714375 w 4997450"/>
              <a:gd name="connsiteY2" fmla="*/ 6351 h 117477"/>
              <a:gd name="connsiteX3" fmla="*/ 1066800 w 4997450"/>
              <a:gd name="connsiteY3" fmla="*/ 117476 h 117477"/>
              <a:gd name="connsiteX4" fmla="*/ 1431925 w 4997450"/>
              <a:gd name="connsiteY4" fmla="*/ 3176 h 117477"/>
              <a:gd name="connsiteX5" fmla="*/ 1784350 w 4997450"/>
              <a:gd name="connsiteY5" fmla="*/ 117476 h 117477"/>
              <a:gd name="connsiteX6" fmla="*/ 2143125 w 4997450"/>
              <a:gd name="connsiteY6" fmla="*/ 1 h 117477"/>
              <a:gd name="connsiteX7" fmla="*/ 2498725 w 4997450"/>
              <a:gd name="connsiteY7" fmla="*/ 114301 h 117477"/>
              <a:gd name="connsiteX8" fmla="*/ 2857500 w 4997450"/>
              <a:gd name="connsiteY8" fmla="*/ 6351 h 117477"/>
              <a:gd name="connsiteX9" fmla="*/ 3213100 w 4997450"/>
              <a:gd name="connsiteY9" fmla="*/ 114301 h 117477"/>
              <a:gd name="connsiteX10" fmla="*/ 3571875 w 4997450"/>
              <a:gd name="connsiteY10" fmla="*/ 3176 h 117477"/>
              <a:gd name="connsiteX11" fmla="*/ 3924300 w 4997450"/>
              <a:gd name="connsiteY11" fmla="*/ 117476 h 117477"/>
              <a:gd name="connsiteX12" fmla="*/ 4289425 w 4997450"/>
              <a:gd name="connsiteY12" fmla="*/ 3176 h 117477"/>
              <a:gd name="connsiteX13" fmla="*/ 4641850 w 4997450"/>
              <a:gd name="connsiteY13" fmla="*/ 117476 h 117477"/>
              <a:gd name="connsiteX14" fmla="*/ 4997450 w 4997450"/>
              <a:gd name="connsiteY14" fmla="*/ 3176 h 117477"/>
              <a:gd name="connsiteX0" fmla="*/ 0 w 4997450"/>
              <a:gd name="connsiteY0" fmla="*/ 3176 h 117477"/>
              <a:gd name="connsiteX1" fmla="*/ 355600 w 4997450"/>
              <a:gd name="connsiteY1" fmla="*/ 117476 h 117477"/>
              <a:gd name="connsiteX2" fmla="*/ 714375 w 4997450"/>
              <a:gd name="connsiteY2" fmla="*/ 6351 h 117477"/>
              <a:gd name="connsiteX3" fmla="*/ 1066800 w 4997450"/>
              <a:gd name="connsiteY3" fmla="*/ 117476 h 117477"/>
              <a:gd name="connsiteX4" fmla="*/ 1431925 w 4997450"/>
              <a:gd name="connsiteY4" fmla="*/ 3176 h 117477"/>
              <a:gd name="connsiteX5" fmla="*/ 1784350 w 4997450"/>
              <a:gd name="connsiteY5" fmla="*/ 117476 h 117477"/>
              <a:gd name="connsiteX6" fmla="*/ 2143125 w 4997450"/>
              <a:gd name="connsiteY6" fmla="*/ 1 h 117477"/>
              <a:gd name="connsiteX7" fmla="*/ 2498725 w 4997450"/>
              <a:gd name="connsiteY7" fmla="*/ 114301 h 117477"/>
              <a:gd name="connsiteX8" fmla="*/ 2857500 w 4997450"/>
              <a:gd name="connsiteY8" fmla="*/ 6351 h 117477"/>
              <a:gd name="connsiteX9" fmla="*/ 3213100 w 4997450"/>
              <a:gd name="connsiteY9" fmla="*/ 114301 h 117477"/>
              <a:gd name="connsiteX10" fmla="*/ 3571875 w 4997450"/>
              <a:gd name="connsiteY10" fmla="*/ 3176 h 117477"/>
              <a:gd name="connsiteX11" fmla="*/ 3924300 w 4997450"/>
              <a:gd name="connsiteY11" fmla="*/ 117476 h 117477"/>
              <a:gd name="connsiteX12" fmla="*/ 4289425 w 4997450"/>
              <a:gd name="connsiteY12" fmla="*/ 3176 h 117477"/>
              <a:gd name="connsiteX13" fmla="*/ 4641850 w 4997450"/>
              <a:gd name="connsiteY13" fmla="*/ 117476 h 117477"/>
              <a:gd name="connsiteX14" fmla="*/ 4997450 w 4997450"/>
              <a:gd name="connsiteY14" fmla="*/ 3176 h 117477"/>
              <a:gd name="connsiteX0" fmla="*/ 0 w 4997450"/>
              <a:gd name="connsiteY0" fmla="*/ 3176 h 117563"/>
              <a:gd name="connsiteX1" fmla="*/ 355600 w 4997450"/>
              <a:gd name="connsiteY1" fmla="*/ 117476 h 117563"/>
              <a:gd name="connsiteX2" fmla="*/ 714375 w 4997450"/>
              <a:gd name="connsiteY2" fmla="*/ 6351 h 117563"/>
              <a:gd name="connsiteX3" fmla="*/ 1066800 w 4997450"/>
              <a:gd name="connsiteY3" fmla="*/ 117476 h 117563"/>
              <a:gd name="connsiteX4" fmla="*/ 1431925 w 4997450"/>
              <a:gd name="connsiteY4" fmla="*/ 3176 h 117563"/>
              <a:gd name="connsiteX5" fmla="*/ 1784350 w 4997450"/>
              <a:gd name="connsiteY5" fmla="*/ 117476 h 117563"/>
              <a:gd name="connsiteX6" fmla="*/ 2143125 w 4997450"/>
              <a:gd name="connsiteY6" fmla="*/ 1 h 117563"/>
              <a:gd name="connsiteX7" fmla="*/ 2498725 w 4997450"/>
              <a:gd name="connsiteY7" fmla="*/ 114301 h 117563"/>
              <a:gd name="connsiteX8" fmla="*/ 2857500 w 4997450"/>
              <a:gd name="connsiteY8" fmla="*/ 6351 h 117563"/>
              <a:gd name="connsiteX9" fmla="*/ 3213100 w 4997450"/>
              <a:gd name="connsiteY9" fmla="*/ 114301 h 117563"/>
              <a:gd name="connsiteX10" fmla="*/ 3571875 w 4997450"/>
              <a:gd name="connsiteY10" fmla="*/ 3176 h 117563"/>
              <a:gd name="connsiteX11" fmla="*/ 3924300 w 4997450"/>
              <a:gd name="connsiteY11" fmla="*/ 117476 h 117563"/>
              <a:gd name="connsiteX12" fmla="*/ 4289425 w 4997450"/>
              <a:gd name="connsiteY12" fmla="*/ 3176 h 117563"/>
              <a:gd name="connsiteX13" fmla="*/ 4641850 w 4997450"/>
              <a:gd name="connsiteY13" fmla="*/ 117476 h 117563"/>
              <a:gd name="connsiteX14" fmla="*/ 4997450 w 4997450"/>
              <a:gd name="connsiteY14" fmla="*/ 3176 h 117563"/>
              <a:gd name="connsiteX0" fmla="*/ 0 w 4997450"/>
              <a:gd name="connsiteY0" fmla="*/ 3176 h 117563"/>
              <a:gd name="connsiteX1" fmla="*/ 355600 w 4997450"/>
              <a:gd name="connsiteY1" fmla="*/ 117476 h 117563"/>
              <a:gd name="connsiteX2" fmla="*/ 714375 w 4997450"/>
              <a:gd name="connsiteY2" fmla="*/ 6351 h 117563"/>
              <a:gd name="connsiteX3" fmla="*/ 1066800 w 4997450"/>
              <a:gd name="connsiteY3" fmla="*/ 117476 h 117563"/>
              <a:gd name="connsiteX4" fmla="*/ 1431925 w 4997450"/>
              <a:gd name="connsiteY4" fmla="*/ 3176 h 117563"/>
              <a:gd name="connsiteX5" fmla="*/ 1784350 w 4997450"/>
              <a:gd name="connsiteY5" fmla="*/ 117476 h 117563"/>
              <a:gd name="connsiteX6" fmla="*/ 2143125 w 4997450"/>
              <a:gd name="connsiteY6" fmla="*/ 1 h 117563"/>
              <a:gd name="connsiteX7" fmla="*/ 2498725 w 4997450"/>
              <a:gd name="connsiteY7" fmla="*/ 114301 h 117563"/>
              <a:gd name="connsiteX8" fmla="*/ 2857500 w 4997450"/>
              <a:gd name="connsiteY8" fmla="*/ 6351 h 117563"/>
              <a:gd name="connsiteX9" fmla="*/ 3213100 w 4997450"/>
              <a:gd name="connsiteY9" fmla="*/ 114301 h 117563"/>
              <a:gd name="connsiteX10" fmla="*/ 3571875 w 4997450"/>
              <a:gd name="connsiteY10" fmla="*/ 3176 h 117563"/>
              <a:gd name="connsiteX11" fmla="*/ 3924300 w 4997450"/>
              <a:gd name="connsiteY11" fmla="*/ 117476 h 117563"/>
              <a:gd name="connsiteX12" fmla="*/ 4289425 w 4997450"/>
              <a:gd name="connsiteY12" fmla="*/ 3176 h 117563"/>
              <a:gd name="connsiteX13" fmla="*/ 4641850 w 4997450"/>
              <a:gd name="connsiteY13" fmla="*/ 117476 h 117563"/>
              <a:gd name="connsiteX14" fmla="*/ 4997450 w 4997450"/>
              <a:gd name="connsiteY14" fmla="*/ 3176 h 117563"/>
              <a:gd name="connsiteX0" fmla="*/ 0 w 4997450"/>
              <a:gd name="connsiteY0" fmla="*/ 3176 h 117765"/>
              <a:gd name="connsiteX1" fmla="*/ 355600 w 4997450"/>
              <a:gd name="connsiteY1" fmla="*/ 117476 h 117765"/>
              <a:gd name="connsiteX2" fmla="*/ 714375 w 4997450"/>
              <a:gd name="connsiteY2" fmla="*/ 6351 h 117765"/>
              <a:gd name="connsiteX3" fmla="*/ 1066800 w 4997450"/>
              <a:gd name="connsiteY3" fmla="*/ 117476 h 117765"/>
              <a:gd name="connsiteX4" fmla="*/ 1431925 w 4997450"/>
              <a:gd name="connsiteY4" fmla="*/ 3176 h 117765"/>
              <a:gd name="connsiteX5" fmla="*/ 1784350 w 4997450"/>
              <a:gd name="connsiteY5" fmla="*/ 117476 h 117765"/>
              <a:gd name="connsiteX6" fmla="*/ 2143125 w 4997450"/>
              <a:gd name="connsiteY6" fmla="*/ 1 h 117765"/>
              <a:gd name="connsiteX7" fmla="*/ 2498725 w 4997450"/>
              <a:gd name="connsiteY7" fmla="*/ 114301 h 117765"/>
              <a:gd name="connsiteX8" fmla="*/ 2857500 w 4997450"/>
              <a:gd name="connsiteY8" fmla="*/ 6351 h 117765"/>
              <a:gd name="connsiteX9" fmla="*/ 3213100 w 4997450"/>
              <a:gd name="connsiteY9" fmla="*/ 114301 h 117765"/>
              <a:gd name="connsiteX10" fmla="*/ 3571875 w 4997450"/>
              <a:gd name="connsiteY10" fmla="*/ 3176 h 117765"/>
              <a:gd name="connsiteX11" fmla="*/ 3924300 w 4997450"/>
              <a:gd name="connsiteY11" fmla="*/ 117476 h 117765"/>
              <a:gd name="connsiteX12" fmla="*/ 4289425 w 4997450"/>
              <a:gd name="connsiteY12" fmla="*/ 3176 h 117765"/>
              <a:gd name="connsiteX13" fmla="*/ 4641850 w 4997450"/>
              <a:gd name="connsiteY13" fmla="*/ 117476 h 117765"/>
              <a:gd name="connsiteX14" fmla="*/ 4997450 w 4997450"/>
              <a:gd name="connsiteY14" fmla="*/ 3176 h 117765"/>
              <a:gd name="connsiteX0" fmla="*/ 0 w 4997450"/>
              <a:gd name="connsiteY0" fmla="*/ 3176 h 117765"/>
              <a:gd name="connsiteX1" fmla="*/ 355600 w 4997450"/>
              <a:gd name="connsiteY1" fmla="*/ 117476 h 117765"/>
              <a:gd name="connsiteX2" fmla="*/ 714375 w 4997450"/>
              <a:gd name="connsiteY2" fmla="*/ 6351 h 117765"/>
              <a:gd name="connsiteX3" fmla="*/ 1066800 w 4997450"/>
              <a:gd name="connsiteY3" fmla="*/ 117476 h 117765"/>
              <a:gd name="connsiteX4" fmla="*/ 1431925 w 4997450"/>
              <a:gd name="connsiteY4" fmla="*/ 3176 h 117765"/>
              <a:gd name="connsiteX5" fmla="*/ 1784350 w 4997450"/>
              <a:gd name="connsiteY5" fmla="*/ 117476 h 117765"/>
              <a:gd name="connsiteX6" fmla="*/ 2143125 w 4997450"/>
              <a:gd name="connsiteY6" fmla="*/ 1 h 117765"/>
              <a:gd name="connsiteX7" fmla="*/ 2498725 w 4997450"/>
              <a:gd name="connsiteY7" fmla="*/ 114301 h 117765"/>
              <a:gd name="connsiteX8" fmla="*/ 2857500 w 4997450"/>
              <a:gd name="connsiteY8" fmla="*/ 6351 h 117765"/>
              <a:gd name="connsiteX9" fmla="*/ 3213100 w 4997450"/>
              <a:gd name="connsiteY9" fmla="*/ 114301 h 117765"/>
              <a:gd name="connsiteX10" fmla="*/ 3571875 w 4997450"/>
              <a:gd name="connsiteY10" fmla="*/ 3176 h 117765"/>
              <a:gd name="connsiteX11" fmla="*/ 3924300 w 4997450"/>
              <a:gd name="connsiteY11" fmla="*/ 117476 h 117765"/>
              <a:gd name="connsiteX12" fmla="*/ 4289425 w 4997450"/>
              <a:gd name="connsiteY12" fmla="*/ 3176 h 117765"/>
              <a:gd name="connsiteX13" fmla="*/ 4641850 w 4997450"/>
              <a:gd name="connsiteY13" fmla="*/ 117476 h 117765"/>
              <a:gd name="connsiteX14" fmla="*/ 4997450 w 4997450"/>
              <a:gd name="connsiteY14" fmla="*/ 3176 h 117765"/>
              <a:gd name="connsiteX0" fmla="*/ 0 w 4997450"/>
              <a:gd name="connsiteY0" fmla="*/ 3176 h 117765"/>
              <a:gd name="connsiteX1" fmla="*/ 355600 w 4997450"/>
              <a:gd name="connsiteY1" fmla="*/ 117476 h 117765"/>
              <a:gd name="connsiteX2" fmla="*/ 714375 w 4997450"/>
              <a:gd name="connsiteY2" fmla="*/ 6351 h 117765"/>
              <a:gd name="connsiteX3" fmla="*/ 1066800 w 4997450"/>
              <a:gd name="connsiteY3" fmla="*/ 117476 h 117765"/>
              <a:gd name="connsiteX4" fmla="*/ 1431925 w 4997450"/>
              <a:gd name="connsiteY4" fmla="*/ 3176 h 117765"/>
              <a:gd name="connsiteX5" fmla="*/ 1784350 w 4997450"/>
              <a:gd name="connsiteY5" fmla="*/ 117476 h 117765"/>
              <a:gd name="connsiteX6" fmla="*/ 2143125 w 4997450"/>
              <a:gd name="connsiteY6" fmla="*/ 1 h 117765"/>
              <a:gd name="connsiteX7" fmla="*/ 2498725 w 4997450"/>
              <a:gd name="connsiteY7" fmla="*/ 114301 h 117765"/>
              <a:gd name="connsiteX8" fmla="*/ 2857500 w 4997450"/>
              <a:gd name="connsiteY8" fmla="*/ 6351 h 117765"/>
              <a:gd name="connsiteX9" fmla="*/ 3213100 w 4997450"/>
              <a:gd name="connsiteY9" fmla="*/ 114301 h 117765"/>
              <a:gd name="connsiteX10" fmla="*/ 3571875 w 4997450"/>
              <a:gd name="connsiteY10" fmla="*/ 3176 h 117765"/>
              <a:gd name="connsiteX11" fmla="*/ 3924300 w 4997450"/>
              <a:gd name="connsiteY11" fmla="*/ 117476 h 117765"/>
              <a:gd name="connsiteX12" fmla="*/ 4289425 w 4997450"/>
              <a:gd name="connsiteY12" fmla="*/ 3176 h 117765"/>
              <a:gd name="connsiteX13" fmla="*/ 4641850 w 4997450"/>
              <a:gd name="connsiteY13" fmla="*/ 117476 h 117765"/>
              <a:gd name="connsiteX14" fmla="*/ 4997450 w 4997450"/>
              <a:gd name="connsiteY14" fmla="*/ 3176 h 117765"/>
              <a:gd name="connsiteX0" fmla="*/ 0 w 4997450"/>
              <a:gd name="connsiteY0" fmla="*/ 3176 h 117765"/>
              <a:gd name="connsiteX1" fmla="*/ 355600 w 4997450"/>
              <a:gd name="connsiteY1" fmla="*/ 117476 h 117765"/>
              <a:gd name="connsiteX2" fmla="*/ 714375 w 4997450"/>
              <a:gd name="connsiteY2" fmla="*/ 6351 h 117765"/>
              <a:gd name="connsiteX3" fmla="*/ 1066800 w 4997450"/>
              <a:gd name="connsiteY3" fmla="*/ 117476 h 117765"/>
              <a:gd name="connsiteX4" fmla="*/ 1431925 w 4997450"/>
              <a:gd name="connsiteY4" fmla="*/ 3176 h 117765"/>
              <a:gd name="connsiteX5" fmla="*/ 1784350 w 4997450"/>
              <a:gd name="connsiteY5" fmla="*/ 117476 h 117765"/>
              <a:gd name="connsiteX6" fmla="*/ 2143125 w 4997450"/>
              <a:gd name="connsiteY6" fmla="*/ 1 h 117765"/>
              <a:gd name="connsiteX7" fmla="*/ 2498725 w 4997450"/>
              <a:gd name="connsiteY7" fmla="*/ 114301 h 117765"/>
              <a:gd name="connsiteX8" fmla="*/ 2857500 w 4997450"/>
              <a:gd name="connsiteY8" fmla="*/ 6351 h 117765"/>
              <a:gd name="connsiteX9" fmla="*/ 3213100 w 4997450"/>
              <a:gd name="connsiteY9" fmla="*/ 114301 h 117765"/>
              <a:gd name="connsiteX10" fmla="*/ 3571875 w 4997450"/>
              <a:gd name="connsiteY10" fmla="*/ 3176 h 117765"/>
              <a:gd name="connsiteX11" fmla="*/ 3924300 w 4997450"/>
              <a:gd name="connsiteY11" fmla="*/ 117476 h 117765"/>
              <a:gd name="connsiteX12" fmla="*/ 4289425 w 4997450"/>
              <a:gd name="connsiteY12" fmla="*/ 3176 h 117765"/>
              <a:gd name="connsiteX13" fmla="*/ 4641850 w 4997450"/>
              <a:gd name="connsiteY13" fmla="*/ 117476 h 117765"/>
              <a:gd name="connsiteX14" fmla="*/ 4997450 w 4997450"/>
              <a:gd name="connsiteY14" fmla="*/ 3176 h 117765"/>
              <a:gd name="connsiteX0" fmla="*/ 0 w 4997450"/>
              <a:gd name="connsiteY0" fmla="*/ 3176 h 117765"/>
              <a:gd name="connsiteX1" fmla="*/ 355600 w 4997450"/>
              <a:gd name="connsiteY1" fmla="*/ 117476 h 117765"/>
              <a:gd name="connsiteX2" fmla="*/ 714375 w 4997450"/>
              <a:gd name="connsiteY2" fmla="*/ 6351 h 117765"/>
              <a:gd name="connsiteX3" fmla="*/ 1066800 w 4997450"/>
              <a:gd name="connsiteY3" fmla="*/ 117476 h 117765"/>
              <a:gd name="connsiteX4" fmla="*/ 1431925 w 4997450"/>
              <a:gd name="connsiteY4" fmla="*/ 3176 h 117765"/>
              <a:gd name="connsiteX5" fmla="*/ 1784350 w 4997450"/>
              <a:gd name="connsiteY5" fmla="*/ 117476 h 117765"/>
              <a:gd name="connsiteX6" fmla="*/ 2143125 w 4997450"/>
              <a:gd name="connsiteY6" fmla="*/ 1 h 117765"/>
              <a:gd name="connsiteX7" fmla="*/ 2498725 w 4997450"/>
              <a:gd name="connsiteY7" fmla="*/ 114301 h 117765"/>
              <a:gd name="connsiteX8" fmla="*/ 2857500 w 4997450"/>
              <a:gd name="connsiteY8" fmla="*/ 6351 h 117765"/>
              <a:gd name="connsiteX9" fmla="*/ 3213100 w 4997450"/>
              <a:gd name="connsiteY9" fmla="*/ 114301 h 117765"/>
              <a:gd name="connsiteX10" fmla="*/ 3571875 w 4997450"/>
              <a:gd name="connsiteY10" fmla="*/ 3176 h 117765"/>
              <a:gd name="connsiteX11" fmla="*/ 3924300 w 4997450"/>
              <a:gd name="connsiteY11" fmla="*/ 117476 h 117765"/>
              <a:gd name="connsiteX12" fmla="*/ 4289425 w 4997450"/>
              <a:gd name="connsiteY12" fmla="*/ 3176 h 117765"/>
              <a:gd name="connsiteX13" fmla="*/ 4641850 w 4997450"/>
              <a:gd name="connsiteY13" fmla="*/ 117476 h 117765"/>
              <a:gd name="connsiteX14" fmla="*/ 4997450 w 4997450"/>
              <a:gd name="connsiteY14" fmla="*/ 3176 h 117765"/>
              <a:gd name="connsiteX0" fmla="*/ 0 w 4997450"/>
              <a:gd name="connsiteY0" fmla="*/ 3176 h 117765"/>
              <a:gd name="connsiteX1" fmla="*/ 355600 w 4997450"/>
              <a:gd name="connsiteY1" fmla="*/ 117476 h 117765"/>
              <a:gd name="connsiteX2" fmla="*/ 714375 w 4997450"/>
              <a:gd name="connsiteY2" fmla="*/ 6351 h 117765"/>
              <a:gd name="connsiteX3" fmla="*/ 1066800 w 4997450"/>
              <a:gd name="connsiteY3" fmla="*/ 117476 h 117765"/>
              <a:gd name="connsiteX4" fmla="*/ 1431925 w 4997450"/>
              <a:gd name="connsiteY4" fmla="*/ 3176 h 117765"/>
              <a:gd name="connsiteX5" fmla="*/ 1784350 w 4997450"/>
              <a:gd name="connsiteY5" fmla="*/ 117476 h 117765"/>
              <a:gd name="connsiteX6" fmla="*/ 2143125 w 4997450"/>
              <a:gd name="connsiteY6" fmla="*/ 1 h 117765"/>
              <a:gd name="connsiteX7" fmla="*/ 2498725 w 4997450"/>
              <a:gd name="connsiteY7" fmla="*/ 114301 h 117765"/>
              <a:gd name="connsiteX8" fmla="*/ 2857500 w 4997450"/>
              <a:gd name="connsiteY8" fmla="*/ 6351 h 117765"/>
              <a:gd name="connsiteX9" fmla="*/ 3213100 w 4997450"/>
              <a:gd name="connsiteY9" fmla="*/ 114301 h 117765"/>
              <a:gd name="connsiteX10" fmla="*/ 3571875 w 4997450"/>
              <a:gd name="connsiteY10" fmla="*/ 3176 h 117765"/>
              <a:gd name="connsiteX11" fmla="*/ 3924300 w 4997450"/>
              <a:gd name="connsiteY11" fmla="*/ 117476 h 117765"/>
              <a:gd name="connsiteX12" fmla="*/ 4289425 w 4997450"/>
              <a:gd name="connsiteY12" fmla="*/ 3176 h 117765"/>
              <a:gd name="connsiteX13" fmla="*/ 4641850 w 4997450"/>
              <a:gd name="connsiteY13" fmla="*/ 117476 h 117765"/>
              <a:gd name="connsiteX14" fmla="*/ 4997450 w 4997450"/>
              <a:gd name="connsiteY14" fmla="*/ 3176 h 117765"/>
              <a:gd name="connsiteX0" fmla="*/ 0 w 4997450"/>
              <a:gd name="connsiteY0" fmla="*/ 3176 h 117758"/>
              <a:gd name="connsiteX1" fmla="*/ 355600 w 4997450"/>
              <a:gd name="connsiteY1" fmla="*/ 117476 h 117758"/>
              <a:gd name="connsiteX2" fmla="*/ 714375 w 4997450"/>
              <a:gd name="connsiteY2" fmla="*/ 6351 h 117758"/>
              <a:gd name="connsiteX3" fmla="*/ 1066800 w 4997450"/>
              <a:gd name="connsiteY3" fmla="*/ 117476 h 117758"/>
              <a:gd name="connsiteX4" fmla="*/ 1431925 w 4997450"/>
              <a:gd name="connsiteY4" fmla="*/ 3176 h 117758"/>
              <a:gd name="connsiteX5" fmla="*/ 1784350 w 4997450"/>
              <a:gd name="connsiteY5" fmla="*/ 117476 h 117758"/>
              <a:gd name="connsiteX6" fmla="*/ 2143125 w 4997450"/>
              <a:gd name="connsiteY6" fmla="*/ 1 h 117758"/>
              <a:gd name="connsiteX7" fmla="*/ 2498725 w 4997450"/>
              <a:gd name="connsiteY7" fmla="*/ 114301 h 117758"/>
              <a:gd name="connsiteX8" fmla="*/ 2857500 w 4997450"/>
              <a:gd name="connsiteY8" fmla="*/ 6351 h 117758"/>
              <a:gd name="connsiteX9" fmla="*/ 3213100 w 4997450"/>
              <a:gd name="connsiteY9" fmla="*/ 114301 h 117758"/>
              <a:gd name="connsiteX10" fmla="*/ 3571875 w 4997450"/>
              <a:gd name="connsiteY10" fmla="*/ 3176 h 117758"/>
              <a:gd name="connsiteX11" fmla="*/ 3924300 w 4997450"/>
              <a:gd name="connsiteY11" fmla="*/ 117476 h 117758"/>
              <a:gd name="connsiteX12" fmla="*/ 4289425 w 4997450"/>
              <a:gd name="connsiteY12" fmla="*/ 3176 h 117758"/>
              <a:gd name="connsiteX13" fmla="*/ 4641850 w 4997450"/>
              <a:gd name="connsiteY13" fmla="*/ 117476 h 117758"/>
              <a:gd name="connsiteX14" fmla="*/ 4997450 w 4997450"/>
              <a:gd name="connsiteY14" fmla="*/ 3176 h 117758"/>
              <a:gd name="connsiteX0" fmla="*/ 0 w 4997450"/>
              <a:gd name="connsiteY0" fmla="*/ 3176 h 117561"/>
              <a:gd name="connsiteX1" fmla="*/ 355600 w 4997450"/>
              <a:gd name="connsiteY1" fmla="*/ 117476 h 117561"/>
              <a:gd name="connsiteX2" fmla="*/ 714375 w 4997450"/>
              <a:gd name="connsiteY2" fmla="*/ 6351 h 117561"/>
              <a:gd name="connsiteX3" fmla="*/ 1066800 w 4997450"/>
              <a:gd name="connsiteY3" fmla="*/ 117476 h 117561"/>
              <a:gd name="connsiteX4" fmla="*/ 1431925 w 4997450"/>
              <a:gd name="connsiteY4" fmla="*/ 3176 h 117561"/>
              <a:gd name="connsiteX5" fmla="*/ 1784350 w 4997450"/>
              <a:gd name="connsiteY5" fmla="*/ 117476 h 117561"/>
              <a:gd name="connsiteX6" fmla="*/ 2143125 w 4997450"/>
              <a:gd name="connsiteY6" fmla="*/ 1 h 117561"/>
              <a:gd name="connsiteX7" fmla="*/ 2498725 w 4997450"/>
              <a:gd name="connsiteY7" fmla="*/ 114301 h 117561"/>
              <a:gd name="connsiteX8" fmla="*/ 2857500 w 4997450"/>
              <a:gd name="connsiteY8" fmla="*/ 6351 h 117561"/>
              <a:gd name="connsiteX9" fmla="*/ 3213100 w 4997450"/>
              <a:gd name="connsiteY9" fmla="*/ 114301 h 117561"/>
              <a:gd name="connsiteX10" fmla="*/ 3571875 w 4997450"/>
              <a:gd name="connsiteY10" fmla="*/ 3176 h 117561"/>
              <a:gd name="connsiteX11" fmla="*/ 3924300 w 4997450"/>
              <a:gd name="connsiteY11" fmla="*/ 117476 h 117561"/>
              <a:gd name="connsiteX12" fmla="*/ 4289425 w 4997450"/>
              <a:gd name="connsiteY12" fmla="*/ 3176 h 117561"/>
              <a:gd name="connsiteX13" fmla="*/ 4641850 w 4997450"/>
              <a:gd name="connsiteY13" fmla="*/ 117476 h 117561"/>
              <a:gd name="connsiteX14" fmla="*/ 4997450 w 4997450"/>
              <a:gd name="connsiteY14" fmla="*/ 3176 h 117561"/>
              <a:gd name="connsiteX0" fmla="*/ 0 w 4997450"/>
              <a:gd name="connsiteY0" fmla="*/ 3176 h 117561"/>
              <a:gd name="connsiteX1" fmla="*/ 355600 w 4997450"/>
              <a:gd name="connsiteY1" fmla="*/ 117476 h 117561"/>
              <a:gd name="connsiteX2" fmla="*/ 714375 w 4997450"/>
              <a:gd name="connsiteY2" fmla="*/ 6351 h 117561"/>
              <a:gd name="connsiteX3" fmla="*/ 1066800 w 4997450"/>
              <a:gd name="connsiteY3" fmla="*/ 117476 h 117561"/>
              <a:gd name="connsiteX4" fmla="*/ 1431925 w 4997450"/>
              <a:gd name="connsiteY4" fmla="*/ 3176 h 117561"/>
              <a:gd name="connsiteX5" fmla="*/ 1784350 w 4997450"/>
              <a:gd name="connsiteY5" fmla="*/ 117476 h 117561"/>
              <a:gd name="connsiteX6" fmla="*/ 2143125 w 4997450"/>
              <a:gd name="connsiteY6" fmla="*/ 1 h 117561"/>
              <a:gd name="connsiteX7" fmla="*/ 2498725 w 4997450"/>
              <a:gd name="connsiteY7" fmla="*/ 114301 h 117561"/>
              <a:gd name="connsiteX8" fmla="*/ 2857500 w 4997450"/>
              <a:gd name="connsiteY8" fmla="*/ 6351 h 117561"/>
              <a:gd name="connsiteX9" fmla="*/ 3213100 w 4997450"/>
              <a:gd name="connsiteY9" fmla="*/ 114301 h 117561"/>
              <a:gd name="connsiteX10" fmla="*/ 3571875 w 4997450"/>
              <a:gd name="connsiteY10" fmla="*/ 3176 h 117561"/>
              <a:gd name="connsiteX11" fmla="*/ 3924300 w 4997450"/>
              <a:gd name="connsiteY11" fmla="*/ 117476 h 117561"/>
              <a:gd name="connsiteX12" fmla="*/ 4289425 w 4997450"/>
              <a:gd name="connsiteY12" fmla="*/ 3176 h 117561"/>
              <a:gd name="connsiteX13" fmla="*/ 4641850 w 4997450"/>
              <a:gd name="connsiteY13" fmla="*/ 117476 h 117561"/>
              <a:gd name="connsiteX14" fmla="*/ 4997450 w 4997450"/>
              <a:gd name="connsiteY14" fmla="*/ 3176 h 117561"/>
              <a:gd name="connsiteX0" fmla="*/ 0 w 4997450"/>
              <a:gd name="connsiteY0" fmla="*/ 3176 h 117561"/>
              <a:gd name="connsiteX1" fmla="*/ 355600 w 4997450"/>
              <a:gd name="connsiteY1" fmla="*/ 117476 h 117561"/>
              <a:gd name="connsiteX2" fmla="*/ 714375 w 4997450"/>
              <a:gd name="connsiteY2" fmla="*/ 6351 h 117561"/>
              <a:gd name="connsiteX3" fmla="*/ 1066800 w 4997450"/>
              <a:gd name="connsiteY3" fmla="*/ 117476 h 117561"/>
              <a:gd name="connsiteX4" fmla="*/ 1431925 w 4997450"/>
              <a:gd name="connsiteY4" fmla="*/ 3176 h 117561"/>
              <a:gd name="connsiteX5" fmla="*/ 1784350 w 4997450"/>
              <a:gd name="connsiteY5" fmla="*/ 117476 h 117561"/>
              <a:gd name="connsiteX6" fmla="*/ 2143125 w 4997450"/>
              <a:gd name="connsiteY6" fmla="*/ 1 h 117561"/>
              <a:gd name="connsiteX7" fmla="*/ 2498725 w 4997450"/>
              <a:gd name="connsiteY7" fmla="*/ 114301 h 117561"/>
              <a:gd name="connsiteX8" fmla="*/ 2857500 w 4997450"/>
              <a:gd name="connsiteY8" fmla="*/ 6351 h 117561"/>
              <a:gd name="connsiteX9" fmla="*/ 3213100 w 4997450"/>
              <a:gd name="connsiteY9" fmla="*/ 114301 h 117561"/>
              <a:gd name="connsiteX10" fmla="*/ 3571875 w 4997450"/>
              <a:gd name="connsiteY10" fmla="*/ 3176 h 117561"/>
              <a:gd name="connsiteX11" fmla="*/ 3924300 w 4997450"/>
              <a:gd name="connsiteY11" fmla="*/ 117476 h 117561"/>
              <a:gd name="connsiteX12" fmla="*/ 4289425 w 4997450"/>
              <a:gd name="connsiteY12" fmla="*/ 3176 h 117561"/>
              <a:gd name="connsiteX13" fmla="*/ 4641850 w 4997450"/>
              <a:gd name="connsiteY13" fmla="*/ 117476 h 117561"/>
              <a:gd name="connsiteX14" fmla="*/ 4997450 w 4997450"/>
              <a:gd name="connsiteY14" fmla="*/ 3176 h 117561"/>
              <a:gd name="connsiteX0" fmla="*/ 0 w 4997450"/>
              <a:gd name="connsiteY0" fmla="*/ 3176 h 117477"/>
              <a:gd name="connsiteX1" fmla="*/ 355600 w 4997450"/>
              <a:gd name="connsiteY1" fmla="*/ 117476 h 117477"/>
              <a:gd name="connsiteX2" fmla="*/ 714375 w 4997450"/>
              <a:gd name="connsiteY2" fmla="*/ 6351 h 117477"/>
              <a:gd name="connsiteX3" fmla="*/ 1066800 w 4997450"/>
              <a:gd name="connsiteY3" fmla="*/ 117476 h 117477"/>
              <a:gd name="connsiteX4" fmla="*/ 1431925 w 4997450"/>
              <a:gd name="connsiteY4" fmla="*/ 3176 h 117477"/>
              <a:gd name="connsiteX5" fmla="*/ 1784350 w 4997450"/>
              <a:gd name="connsiteY5" fmla="*/ 117476 h 117477"/>
              <a:gd name="connsiteX6" fmla="*/ 2143125 w 4997450"/>
              <a:gd name="connsiteY6" fmla="*/ 1 h 117477"/>
              <a:gd name="connsiteX7" fmla="*/ 2498725 w 4997450"/>
              <a:gd name="connsiteY7" fmla="*/ 114301 h 117477"/>
              <a:gd name="connsiteX8" fmla="*/ 2857500 w 4997450"/>
              <a:gd name="connsiteY8" fmla="*/ 6351 h 117477"/>
              <a:gd name="connsiteX9" fmla="*/ 3213100 w 4997450"/>
              <a:gd name="connsiteY9" fmla="*/ 114301 h 117477"/>
              <a:gd name="connsiteX10" fmla="*/ 3571875 w 4997450"/>
              <a:gd name="connsiteY10" fmla="*/ 3176 h 117477"/>
              <a:gd name="connsiteX11" fmla="*/ 3924300 w 4997450"/>
              <a:gd name="connsiteY11" fmla="*/ 117476 h 117477"/>
              <a:gd name="connsiteX12" fmla="*/ 4289425 w 4997450"/>
              <a:gd name="connsiteY12" fmla="*/ 3176 h 117477"/>
              <a:gd name="connsiteX13" fmla="*/ 4641850 w 4997450"/>
              <a:gd name="connsiteY13" fmla="*/ 117476 h 117477"/>
              <a:gd name="connsiteX14" fmla="*/ 4997450 w 4997450"/>
              <a:gd name="connsiteY14" fmla="*/ 3176 h 117477"/>
              <a:gd name="connsiteX0" fmla="*/ 0 w 4997450"/>
              <a:gd name="connsiteY0" fmla="*/ 3176 h 117477"/>
              <a:gd name="connsiteX1" fmla="*/ 355600 w 4997450"/>
              <a:gd name="connsiteY1" fmla="*/ 117476 h 117477"/>
              <a:gd name="connsiteX2" fmla="*/ 714375 w 4997450"/>
              <a:gd name="connsiteY2" fmla="*/ 6351 h 117477"/>
              <a:gd name="connsiteX3" fmla="*/ 1066800 w 4997450"/>
              <a:gd name="connsiteY3" fmla="*/ 117476 h 117477"/>
              <a:gd name="connsiteX4" fmla="*/ 1431925 w 4997450"/>
              <a:gd name="connsiteY4" fmla="*/ 3176 h 117477"/>
              <a:gd name="connsiteX5" fmla="*/ 1784350 w 4997450"/>
              <a:gd name="connsiteY5" fmla="*/ 117476 h 117477"/>
              <a:gd name="connsiteX6" fmla="*/ 2143125 w 4997450"/>
              <a:gd name="connsiteY6" fmla="*/ 1 h 117477"/>
              <a:gd name="connsiteX7" fmla="*/ 2498725 w 4997450"/>
              <a:gd name="connsiteY7" fmla="*/ 114301 h 117477"/>
              <a:gd name="connsiteX8" fmla="*/ 2857500 w 4997450"/>
              <a:gd name="connsiteY8" fmla="*/ 6351 h 117477"/>
              <a:gd name="connsiteX9" fmla="*/ 3213100 w 4997450"/>
              <a:gd name="connsiteY9" fmla="*/ 114301 h 117477"/>
              <a:gd name="connsiteX10" fmla="*/ 3571875 w 4997450"/>
              <a:gd name="connsiteY10" fmla="*/ 3176 h 117477"/>
              <a:gd name="connsiteX11" fmla="*/ 3924300 w 4997450"/>
              <a:gd name="connsiteY11" fmla="*/ 117476 h 117477"/>
              <a:gd name="connsiteX12" fmla="*/ 4289425 w 4997450"/>
              <a:gd name="connsiteY12" fmla="*/ 3176 h 117477"/>
              <a:gd name="connsiteX13" fmla="*/ 4641850 w 4997450"/>
              <a:gd name="connsiteY13" fmla="*/ 117476 h 117477"/>
              <a:gd name="connsiteX14" fmla="*/ 4997450 w 4997450"/>
              <a:gd name="connsiteY14" fmla="*/ 3176 h 117477"/>
              <a:gd name="connsiteX0" fmla="*/ 0 w 4997450"/>
              <a:gd name="connsiteY0" fmla="*/ 3176 h 117477"/>
              <a:gd name="connsiteX1" fmla="*/ 355600 w 4997450"/>
              <a:gd name="connsiteY1" fmla="*/ 117476 h 117477"/>
              <a:gd name="connsiteX2" fmla="*/ 714375 w 4997450"/>
              <a:gd name="connsiteY2" fmla="*/ 6351 h 117477"/>
              <a:gd name="connsiteX3" fmla="*/ 1066800 w 4997450"/>
              <a:gd name="connsiteY3" fmla="*/ 117476 h 117477"/>
              <a:gd name="connsiteX4" fmla="*/ 1431925 w 4997450"/>
              <a:gd name="connsiteY4" fmla="*/ 3176 h 117477"/>
              <a:gd name="connsiteX5" fmla="*/ 1784350 w 4997450"/>
              <a:gd name="connsiteY5" fmla="*/ 117476 h 117477"/>
              <a:gd name="connsiteX6" fmla="*/ 2143125 w 4997450"/>
              <a:gd name="connsiteY6" fmla="*/ 1 h 117477"/>
              <a:gd name="connsiteX7" fmla="*/ 2498725 w 4997450"/>
              <a:gd name="connsiteY7" fmla="*/ 114301 h 117477"/>
              <a:gd name="connsiteX8" fmla="*/ 2857500 w 4997450"/>
              <a:gd name="connsiteY8" fmla="*/ 6351 h 117477"/>
              <a:gd name="connsiteX9" fmla="*/ 3213100 w 4997450"/>
              <a:gd name="connsiteY9" fmla="*/ 114301 h 117477"/>
              <a:gd name="connsiteX10" fmla="*/ 3571875 w 4997450"/>
              <a:gd name="connsiteY10" fmla="*/ 3176 h 117477"/>
              <a:gd name="connsiteX11" fmla="*/ 3924300 w 4997450"/>
              <a:gd name="connsiteY11" fmla="*/ 117476 h 117477"/>
              <a:gd name="connsiteX12" fmla="*/ 4289425 w 4997450"/>
              <a:gd name="connsiteY12" fmla="*/ 3176 h 117477"/>
              <a:gd name="connsiteX13" fmla="*/ 4641850 w 4997450"/>
              <a:gd name="connsiteY13" fmla="*/ 117476 h 117477"/>
              <a:gd name="connsiteX14" fmla="*/ 4997450 w 4997450"/>
              <a:gd name="connsiteY14" fmla="*/ 3176 h 117477"/>
              <a:gd name="connsiteX0" fmla="*/ 0 w 4997450"/>
              <a:gd name="connsiteY0" fmla="*/ 3176 h 117477"/>
              <a:gd name="connsiteX1" fmla="*/ 355600 w 4997450"/>
              <a:gd name="connsiteY1" fmla="*/ 117476 h 117477"/>
              <a:gd name="connsiteX2" fmla="*/ 714375 w 4997450"/>
              <a:gd name="connsiteY2" fmla="*/ 6351 h 117477"/>
              <a:gd name="connsiteX3" fmla="*/ 1066800 w 4997450"/>
              <a:gd name="connsiteY3" fmla="*/ 117476 h 117477"/>
              <a:gd name="connsiteX4" fmla="*/ 1431925 w 4997450"/>
              <a:gd name="connsiteY4" fmla="*/ 3176 h 117477"/>
              <a:gd name="connsiteX5" fmla="*/ 1784350 w 4997450"/>
              <a:gd name="connsiteY5" fmla="*/ 117476 h 117477"/>
              <a:gd name="connsiteX6" fmla="*/ 2143125 w 4997450"/>
              <a:gd name="connsiteY6" fmla="*/ 1 h 117477"/>
              <a:gd name="connsiteX7" fmla="*/ 2498725 w 4997450"/>
              <a:gd name="connsiteY7" fmla="*/ 114301 h 117477"/>
              <a:gd name="connsiteX8" fmla="*/ 2857500 w 4997450"/>
              <a:gd name="connsiteY8" fmla="*/ 6351 h 117477"/>
              <a:gd name="connsiteX9" fmla="*/ 3213100 w 4997450"/>
              <a:gd name="connsiteY9" fmla="*/ 114301 h 117477"/>
              <a:gd name="connsiteX10" fmla="*/ 3571875 w 4997450"/>
              <a:gd name="connsiteY10" fmla="*/ 3176 h 117477"/>
              <a:gd name="connsiteX11" fmla="*/ 3924300 w 4997450"/>
              <a:gd name="connsiteY11" fmla="*/ 117476 h 117477"/>
              <a:gd name="connsiteX12" fmla="*/ 4289425 w 4997450"/>
              <a:gd name="connsiteY12" fmla="*/ 3176 h 117477"/>
              <a:gd name="connsiteX13" fmla="*/ 4641850 w 4997450"/>
              <a:gd name="connsiteY13" fmla="*/ 117476 h 117477"/>
              <a:gd name="connsiteX14" fmla="*/ 4997450 w 4997450"/>
              <a:gd name="connsiteY14" fmla="*/ 3176 h 117477"/>
              <a:gd name="connsiteX0" fmla="*/ 0 w 4997450"/>
              <a:gd name="connsiteY0" fmla="*/ 3176 h 117477"/>
              <a:gd name="connsiteX1" fmla="*/ 355600 w 4997450"/>
              <a:gd name="connsiteY1" fmla="*/ 117476 h 117477"/>
              <a:gd name="connsiteX2" fmla="*/ 714375 w 4997450"/>
              <a:gd name="connsiteY2" fmla="*/ 6351 h 117477"/>
              <a:gd name="connsiteX3" fmla="*/ 1066800 w 4997450"/>
              <a:gd name="connsiteY3" fmla="*/ 117476 h 117477"/>
              <a:gd name="connsiteX4" fmla="*/ 1431925 w 4997450"/>
              <a:gd name="connsiteY4" fmla="*/ 3176 h 117477"/>
              <a:gd name="connsiteX5" fmla="*/ 1784350 w 4997450"/>
              <a:gd name="connsiteY5" fmla="*/ 117476 h 117477"/>
              <a:gd name="connsiteX6" fmla="*/ 2143125 w 4997450"/>
              <a:gd name="connsiteY6" fmla="*/ 1 h 117477"/>
              <a:gd name="connsiteX7" fmla="*/ 2498725 w 4997450"/>
              <a:gd name="connsiteY7" fmla="*/ 114301 h 117477"/>
              <a:gd name="connsiteX8" fmla="*/ 2857500 w 4997450"/>
              <a:gd name="connsiteY8" fmla="*/ 6351 h 117477"/>
              <a:gd name="connsiteX9" fmla="*/ 3213100 w 4997450"/>
              <a:gd name="connsiteY9" fmla="*/ 114301 h 117477"/>
              <a:gd name="connsiteX10" fmla="*/ 3571875 w 4997450"/>
              <a:gd name="connsiteY10" fmla="*/ 3176 h 117477"/>
              <a:gd name="connsiteX11" fmla="*/ 3924300 w 4997450"/>
              <a:gd name="connsiteY11" fmla="*/ 117476 h 117477"/>
              <a:gd name="connsiteX12" fmla="*/ 4289425 w 4997450"/>
              <a:gd name="connsiteY12" fmla="*/ 3176 h 117477"/>
              <a:gd name="connsiteX13" fmla="*/ 4641850 w 4997450"/>
              <a:gd name="connsiteY13" fmla="*/ 117476 h 117477"/>
              <a:gd name="connsiteX14" fmla="*/ 4997450 w 4997450"/>
              <a:gd name="connsiteY14" fmla="*/ 3176 h 117477"/>
              <a:gd name="connsiteX0" fmla="*/ 0 w 4997450"/>
              <a:gd name="connsiteY0" fmla="*/ 3176 h 117477"/>
              <a:gd name="connsiteX1" fmla="*/ 355600 w 4997450"/>
              <a:gd name="connsiteY1" fmla="*/ 117476 h 117477"/>
              <a:gd name="connsiteX2" fmla="*/ 714375 w 4997450"/>
              <a:gd name="connsiteY2" fmla="*/ 6351 h 117477"/>
              <a:gd name="connsiteX3" fmla="*/ 1066800 w 4997450"/>
              <a:gd name="connsiteY3" fmla="*/ 117476 h 117477"/>
              <a:gd name="connsiteX4" fmla="*/ 1431925 w 4997450"/>
              <a:gd name="connsiteY4" fmla="*/ 3176 h 117477"/>
              <a:gd name="connsiteX5" fmla="*/ 1784350 w 4997450"/>
              <a:gd name="connsiteY5" fmla="*/ 117476 h 117477"/>
              <a:gd name="connsiteX6" fmla="*/ 2143125 w 4997450"/>
              <a:gd name="connsiteY6" fmla="*/ 1 h 117477"/>
              <a:gd name="connsiteX7" fmla="*/ 2498725 w 4997450"/>
              <a:gd name="connsiteY7" fmla="*/ 114301 h 117477"/>
              <a:gd name="connsiteX8" fmla="*/ 2857500 w 4997450"/>
              <a:gd name="connsiteY8" fmla="*/ 6351 h 117477"/>
              <a:gd name="connsiteX9" fmla="*/ 3213100 w 4997450"/>
              <a:gd name="connsiteY9" fmla="*/ 114301 h 117477"/>
              <a:gd name="connsiteX10" fmla="*/ 3571875 w 4997450"/>
              <a:gd name="connsiteY10" fmla="*/ 3176 h 117477"/>
              <a:gd name="connsiteX11" fmla="*/ 3924300 w 4997450"/>
              <a:gd name="connsiteY11" fmla="*/ 117476 h 117477"/>
              <a:gd name="connsiteX12" fmla="*/ 4289425 w 4997450"/>
              <a:gd name="connsiteY12" fmla="*/ 3176 h 117477"/>
              <a:gd name="connsiteX13" fmla="*/ 4641850 w 4997450"/>
              <a:gd name="connsiteY13" fmla="*/ 117476 h 117477"/>
              <a:gd name="connsiteX14" fmla="*/ 4997450 w 4997450"/>
              <a:gd name="connsiteY14" fmla="*/ 3176 h 117477"/>
              <a:gd name="connsiteX0" fmla="*/ 0 w 4997450"/>
              <a:gd name="connsiteY0" fmla="*/ 3176 h 117477"/>
              <a:gd name="connsiteX1" fmla="*/ 355600 w 4997450"/>
              <a:gd name="connsiteY1" fmla="*/ 117476 h 117477"/>
              <a:gd name="connsiteX2" fmla="*/ 714375 w 4997450"/>
              <a:gd name="connsiteY2" fmla="*/ 6351 h 117477"/>
              <a:gd name="connsiteX3" fmla="*/ 1066800 w 4997450"/>
              <a:gd name="connsiteY3" fmla="*/ 117476 h 117477"/>
              <a:gd name="connsiteX4" fmla="*/ 1431925 w 4997450"/>
              <a:gd name="connsiteY4" fmla="*/ 3176 h 117477"/>
              <a:gd name="connsiteX5" fmla="*/ 1784350 w 4997450"/>
              <a:gd name="connsiteY5" fmla="*/ 117476 h 117477"/>
              <a:gd name="connsiteX6" fmla="*/ 2143125 w 4997450"/>
              <a:gd name="connsiteY6" fmla="*/ 1 h 117477"/>
              <a:gd name="connsiteX7" fmla="*/ 2498725 w 4997450"/>
              <a:gd name="connsiteY7" fmla="*/ 114301 h 117477"/>
              <a:gd name="connsiteX8" fmla="*/ 2857500 w 4997450"/>
              <a:gd name="connsiteY8" fmla="*/ 6351 h 117477"/>
              <a:gd name="connsiteX9" fmla="*/ 3213100 w 4997450"/>
              <a:gd name="connsiteY9" fmla="*/ 114301 h 117477"/>
              <a:gd name="connsiteX10" fmla="*/ 3571875 w 4997450"/>
              <a:gd name="connsiteY10" fmla="*/ 3176 h 117477"/>
              <a:gd name="connsiteX11" fmla="*/ 3924300 w 4997450"/>
              <a:gd name="connsiteY11" fmla="*/ 117476 h 117477"/>
              <a:gd name="connsiteX12" fmla="*/ 4289425 w 4997450"/>
              <a:gd name="connsiteY12" fmla="*/ 3176 h 117477"/>
              <a:gd name="connsiteX13" fmla="*/ 4641850 w 4997450"/>
              <a:gd name="connsiteY13" fmla="*/ 117476 h 117477"/>
              <a:gd name="connsiteX14" fmla="*/ 4997450 w 4997450"/>
              <a:gd name="connsiteY14" fmla="*/ 3176 h 117477"/>
              <a:gd name="connsiteX0" fmla="*/ 0 w 4997450"/>
              <a:gd name="connsiteY0" fmla="*/ 3176 h 117477"/>
              <a:gd name="connsiteX1" fmla="*/ 355600 w 4997450"/>
              <a:gd name="connsiteY1" fmla="*/ 117476 h 117477"/>
              <a:gd name="connsiteX2" fmla="*/ 714375 w 4997450"/>
              <a:gd name="connsiteY2" fmla="*/ 6351 h 117477"/>
              <a:gd name="connsiteX3" fmla="*/ 1066800 w 4997450"/>
              <a:gd name="connsiteY3" fmla="*/ 117476 h 117477"/>
              <a:gd name="connsiteX4" fmla="*/ 1431925 w 4997450"/>
              <a:gd name="connsiteY4" fmla="*/ 3176 h 117477"/>
              <a:gd name="connsiteX5" fmla="*/ 1784350 w 4997450"/>
              <a:gd name="connsiteY5" fmla="*/ 117476 h 117477"/>
              <a:gd name="connsiteX6" fmla="*/ 2143125 w 4997450"/>
              <a:gd name="connsiteY6" fmla="*/ 1 h 117477"/>
              <a:gd name="connsiteX7" fmla="*/ 2498725 w 4997450"/>
              <a:gd name="connsiteY7" fmla="*/ 114301 h 117477"/>
              <a:gd name="connsiteX8" fmla="*/ 2857500 w 4997450"/>
              <a:gd name="connsiteY8" fmla="*/ 6351 h 117477"/>
              <a:gd name="connsiteX9" fmla="*/ 3213100 w 4997450"/>
              <a:gd name="connsiteY9" fmla="*/ 114301 h 117477"/>
              <a:gd name="connsiteX10" fmla="*/ 3571875 w 4997450"/>
              <a:gd name="connsiteY10" fmla="*/ 3176 h 117477"/>
              <a:gd name="connsiteX11" fmla="*/ 3924300 w 4997450"/>
              <a:gd name="connsiteY11" fmla="*/ 117476 h 117477"/>
              <a:gd name="connsiteX12" fmla="*/ 4289425 w 4997450"/>
              <a:gd name="connsiteY12" fmla="*/ 3176 h 117477"/>
              <a:gd name="connsiteX13" fmla="*/ 4641850 w 4997450"/>
              <a:gd name="connsiteY13" fmla="*/ 117476 h 117477"/>
              <a:gd name="connsiteX14" fmla="*/ 4997450 w 4997450"/>
              <a:gd name="connsiteY14" fmla="*/ 3176 h 117477"/>
              <a:gd name="connsiteX0" fmla="*/ 0 w 4997450"/>
              <a:gd name="connsiteY0" fmla="*/ 3176 h 117477"/>
              <a:gd name="connsiteX1" fmla="*/ 355600 w 4997450"/>
              <a:gd name="connsiteY1" fmla="*/ 117476 h 117477"/>
              <a:gd name="connsiteX2" fmla="*/ 714375 w 4997450"/>
              <a:gd name="connsiteY2" fmla="*/ 6351 h 117477"/>
              <a:gd name="connsiteX3" fmla="*/ 1066800 w 4997450"/>
              <a:gd name="connsiteY3" fmla="*/ 117476 h 117477"/>
              <a:gd name="connsiteX4" fmla="*/ 1431925 w 4997450"/>
              <a:gd name="connsiteY4" fmla="*/ 3176 h 117477"/>
              <a:gd name="connsiteX5" fmla="*/ 1784350 w 4997450"/>
              <a:gd name="connsiteY5" fmla="*/ 117476 h 117477"/>
              <a:gd name="connsiteX6" fmla="*/ 2143125 w 4997450"/>
              <a:gd name="connsiteY6" fmla="*/ 1 h 117477"/>
              <a:gd name="connsiteX7" fmla="*/ 2498725 w 4997450"/>
              <a:gd name="connsiteY7" fmla="*/ 114301 h 117477"/>
              <a:gd name="connsiteX8" fmla="*/ 2857500 w 4997450"/>
              <a:gd name="connsiteY8" fmla="*/ 6351 h 117477"/>
              <a:gd name="connsiteX9" fmla="*/ 3213100 w 4997450"/>
              <a:gd name="connsiteY9" fmla="*/ 114301 h 117477"/>
              <a:gd name="connsiteX10" fmla="*/ 3571875 w 4997450"/>
              <a:gd name="connsiteY10" fmla="*/ 3176 h 117477"/>
              <a:gd name="connsiteX11" fmla="*/ 3924300 w 4997450"/>
              <a:gd name="connsiteY11" fmla="*/ 117476 h 117477"/>
              <a:gd name="connsiteX12" fmla="*/ 4289425 w 4997450"/>
              <a:gd name="connsiteY12" fmla="*/ 3176 h 117477"/>
              <a:gd name="connsiteX13" fmla="*/ 4641850 w 4997450"/>
              <a:gd name="connsiteY13" fmla="*/ 117476 h 117477"/>
              <a:gd name="connsiteX14" fmla="*/ 4997450 w 4997450"/>
              <a:gd name="connsiteY14" fmla="*/ 3176 h 117477"/>
              <a:gd name="connsiteX0" fmla="*/ 0 w 4997450"/>
              <a:gd name="connsiteY0" fmla="*/ 3176 h 117477"/>
              <a:gd name="connsiteX1" fmla="*/ 355600 w 4997450"/>
              <a:gd name="connsiteY1" fmla="*/ 117476 h 117477"/>
              <a:gd name="connsiteX2" fmla="*/ 714375 w 4997450"/>
              <a:gd name="connsiteY2" fmla="*/ 6351 h 117477"/>
              <a:gd name="connsiteX3" fmla="*/ 1066800 w 4997450"/>
              <a:gd name="connsiteY3" fmla="*/ 117476 h 117477"/>
              <a:gd name="connsiteX4" fmla="*/ 1431925 w 4997450"/>
              <a:gd name="connsiteY4" fmla="*/ 3176 h 117477"/>
              <a:gd name="connsiteX5" fmla="*/ 1784350 w 4997450"/>
              <a:gd name="connsiteY5" fmla="*/ 117476 h 117477"/>
              <a:gd name="connsiteX6" fmla="*/ 2143125 w 4997450"/>
              <a:gd name="connsiteY6" fmla="*/ 1 h 117477"/>
              <a:gd name="connsiteX7" fmla="*/ 2498725 w 4997450"/>
              <a:gd name="connsiteY7" fmla="*/ 114301 h 117477"/>
              <a:gd name="connsiteX8" fmla="*/ 2857500 w 4997450"/>
              <a:gd name="connsiteY8" fmla="*/ 6351 h 117477"/>
              <a:gd name="connsiteX9" fmla="*/ 3213100 w 4997450"/>
              <a:gd name="connsiteY9" fmla="*/ 114301 h 117477"/>
              <a:gd name="connsiteX10" fmla="*/ 3571875 w 4997450"/>
              <a:gd name="connsiteY10" fmla="*/ 3176 h 117477"/>
              <a:gd name="connsiteX11" fmla="*/ 3924300 w 4997450"/>
              <a:gd name="connsiteY11" fmla="*/ 117476 h 117477"/>
              <a:gd name="connsiteX12" fmla="*/ 4289425 w 4997450"/>
              <a:gd name="connsiteY12" fmla="*/ 3176 h 117477"/>
              <a:gd name="connsiteX13" fmla="*/ 4641850 w 4997450"/>
              <a:gd name="connsiteY13" fmla="*/ 117476 h 117477"/>
              <a:gd name="connsiteX14" fmla="*/ 4997450 w 4997450"/>
              <a:gd name="connsiteY14" fmla="*/ 3176 h 117477"/>
              <a:gd name="connsiteX0" fmla="*/ 0 w 4997450"/>
              <a:gd name="connsiteY0" fmla="*/ 3176 h 117563"/>
              <a:gd name="connsiteX1" fmla="*/ 355600 w 4997450"/>
              <a:gd name="connsiteY1" fmla="*/ 117476 h 117563"/>
              <a:gd name="connsiteX2" fmla="*/ 714375 w 4997450"/>
              <a:gd name="connsiteY2" fmla="*/ 6351 h 117563"/>
              <a:gd name="connsiteX3" fmla="*/ 1066800 w 4997450"/>
              <a:gd name="connsiteY3" fmla="*/ 117476 h 117563"/>
              <a:gd name="connsiteX4" fmla="*/ 1431925 w 4997450"/>
              <a:gd name="connsiteY4" fmla="*/ 3176 h 117563"/>
              <a:gd name="connsiteX5" fmla="*/ 1784350 w 4997450"/>
              <a:gd name="connsiteY5" fmla="*/ 117476 h 117563"/>
              <a:gd name="connsiteX6" fmla="*/ 2143125 w 4997450"/>
              <a:gd name="connsiteY6" fmla="*/ 1 h 117563"/>
              <a:gd name="connsiteX7" fmla="*/ 2498725 w 4997450"/>
              <a:gd name="connsiteY7" fmla="*/ 114301 h 117563"/>
              <a:gd name="connsiteX8" fmla="*/ 2857500 w 4997450"/>
              <a:gd name="connsiteY8" fmla="*/ 6351 h 117563"/>
              <a:gd name="connsiteX9" fmla="*/ 3213100 w 4997450"/>
              <a:gd name="connsiteY9" fmla="*/ 114301 h 117563"/>
              <a:gd name="connsiteX10" fmla="*/ 3571875 w 4997450"/>
              <a:gd name="connsiteY10" fmla="*/ 3176 h 117563"/>
              <a:gd name="connsiteX11" fmla="*/ 3924300 w 4997450"/>
              <a:gd name="connsiteY11" fmla="*/ 117476 h 117563"/>
              <a:gd name="connsiteX12" fmla="*/ 4289425 w 4997450"/>
              <a:gd name="connsiteY12" fmla="*/ 3176 h 117563"/>
              <a:gd name="connsiteX13" fmla="*/ 4641850 w 4997450"/>
              <a:gd name="connsiteY13" fmla="*/ 117476 h 117563"/>
              <a:gd name="connsiteX14" fmla="*/ 4997450 w 4997450"/>
              <a:gd name="connsiteY14" fmla="*/ 3176 h 117563"/>
              <a:gd name="connsiteX0" fmla="*/ 0 w 4997450"/>
              <a:gd name="connsiteY0" fmla="*/ 8466 h 122853"/>
              <a:gd name="connsiteX1" fmla="*/ 355600 w 4997450"/>
              <a:gd name="connsiteY1" fmla="*/ 122766 h 122853"/>
              <a:gd name="connsiteX2" fmla="*/ 714375 w 4997450"/>
              <a:gd name="connsiteY2" fmla="*/ 11641 h 122853"/>
              <a:gd name="connsiteX3" fmla="*/ 1066800 w 4997450"/>
              <a:gd name="connsiteY3" fmla="*/ 122766 h 122853"/>
              <a:gd name="connsiteX4" fmla="*/ 1431925 w 4997450"/>
              <a:gd name="connsiteY4" fmla="*/ 8466 h 122853"/>
              <a:gd name="connsiteX5" fmla="*/ 1784350 w 4997450"/>
              <a:gd name="connsiteY5" fmla="*/ 122766 h 122853"/>
              <a:gd name="connsiteX6" fmla="*/ 2143125 w 4997450"/>
              <a:gd name="connsiteY6" fmla="*/ 5291 h 122853"/>
              <a:gd name="connsiteX7" fmla="*/ 2498725 w 4997450"/>
              <a:gd name="connsiteY7" fmla="*/ 119591 h 122853"/>
              <a:gd name="connsiteX8" fmla="*/ 2857500 w 4997450"/>
              <a:gd name="connsiteY8" fmla="*/ 11641 h 122853"/>
              <a:gd name="connsiteX9" fmla="*/ 3213100 w 4997450"/>
              <a:gd name="connsiteY9" fmla="*/ 119591 h 122853"/>
              <a:gd name="connsiteX10" fmla="*/ 3571875 w 4997450"/>
              <a:gd name="connsiteY10" fmla="*/ 8466 h 122853"/>
              <a:gd name="connsiteX11" fmla="*/ 3924300 w 4997450"/>
              <a:gd name="connsiteY11" fmla="*/ 122766 h 122853"/>
              <a:gd name="connsiteX12" fmla="*/ 4289425 w 4997450"/>
              <a:gd name="connsiteY12" fmla="*/ 8466 h 122853"/>
              <a:gd name="connsiteX13" fmla="*/ 4997450 w 4997450"/>
              <a:gd name="connsiteY13" fmla="*/ 8466 h 122853"/>
              <a:gd name="connsiteX0" fmla="*/ 0 w 4289425"/>
              <a:gd name="connsiteY0" fmla="*/ 3177 h 117564"/>
              <a:gd name="connsiteX1" fmla="*/ 355600 w 4289425"/>
              <a:gd name="connsiteY1" fmla="*/ 117477 h 117564"/>
              <a:gd name="connsiteX2" fmla="*/ 714375 w 4289425"/>
              <a:gd name="connsiteY2" fmla="*/ 6352 h 117564"/>
              <a:gd name="connsiteX3" fmla="*/ 1066800 w 4289425"/>
              <a:gd name="connsiteY3" fmla="*/ 117477 h 117564"/>
              <a:gd name="connsiteX4" fmla="*/ 1431925 w 4289425"/>
              <a:gd name="connsiteY4" fmla="*/ 3177 h 117564"/>
              <a:gd name="connsiteX5" fmla="*/ 1784350 w 4289425"/>
              <a:gd name="connsiteY5" fmla="*/ 117477 h 117564"/>
              <a:gd name="connsiteX6" fmla="*/ 2143125 w 4289425"/>
              <a:gd name="connsiteY6" fmla="*/ 2 h 117564"/>
              <a:gd name="connsiteX7" fmla="*/ 2498725 w 4289425"/>
              <a:gd name="connsiteY7" fmla="*/ 114302 h 117564"/>
              <a:gd name="connsiteX8" fmla="*/ 2857500 w 4289425"/>
              <a:gd name="connsiteY8" fmla="*/ 6352 h 117564"/>
              <a:gd name="connsiteX9" fmla="*/ 3213100 w 4289425"/>
              <a:gd name="connsiteY9" fmla="*/ 114302 h 117564"/>
              <a:gd name="connsiteX10" fmla="*/ 3571875 w 4289425"/>
              <a:gd name="connsiteY10" fmla="*/ 3177 h 117564"/>
              <a:gd name="connsiteX11" fmla="*/ 3924300 w 4289425"/>
              <a:gd name="connsiteY11" fmla="*/ 117477 h 117564"/>
              <a:gd name="connsiteX12" fmla="*/ 4289425 w 4289425"/>
              <a:gd name="connsiteY12" fmla="*/ 3177 h 117564"/>
              <a:gd name="connsiteX0" fmla="*/ 0 w 4289425"/>
              <a:gd name="connsiteY0" fmla="*/ 3177 h 117564"/>
              <a:gd name="connsiteX1" fmla="*/ 355600 w 4289425"/>
              <a:gd name="connsiteY1" fmla="*/ 117477 h 117564"/>
              <a:gd name="connsiteX2" fmla="*/ 714375 w 4289425"/>
              <a:gd name="connsiteY2" fmla="*/ 6352 h 117564"/>
              <a:gd name="connsiteX3" fmla="*/ 1066800 w 4289425"/>
              <a:gd name="connsiteY3" fmla="*/ 117477 h 117564"/>
              <a:gd name="connsiteX4" fmla="*/ 1431925 w 4289425"/>
              <a:gd name="connsiteY4" fmla="*/ 3177 h 117564"/>
              <a:gd name="connsiteX5" fmla="*/ 1784350 w 4289425"/>
              <a:gd name="connsiteY5" fmla="*/ 117477 h 117564"/>
              <a:gd name="connsiteX6" fmla="*/ 2143125 w 4289425"/>
              <a:gd name="connsiteY6" fmla="*/ 2 h 117564"/>
              <a:gd name="connsiteX7" fmla="*/ 2498725 w 4289425"/>
              <a:gd name="connsiteY7" fmla="*/ 114302 h 117564"/>
              <a:gd name="connsiteX8" fmla="*/ 2857500 w 4289425"/>
              <a:gd name="connsiteY8" fmla="*/ 6352 h 117564"/>
              <a:gd name="connsiteX9" fmla="*/ 3213100 w 4289425"/>
              <a:gd name="connsiteY9" fmla="*/ 114302 h 117564"/>
              <a:gd name="connsiteX10" fmla="*/ 3571875 w 4289425"/>
              <a:gd name="connsiteY10" fmla="*/ 3177 h 117564"/>
              <a:gd name="connsiteX11" fmla="*/ 3924300 w 4289425"/>
              <a:gd name="connsiteY11" fmla="*/ 117477 h 117564"/>
              <a:gd name="connsiteX12" fmla="*/ 4289425 w 4289425"/>
              <a:gd name="connsiteY12" fmla="*/ 3177 h 117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289425" h="117564">
                <a:moveTo>
                  <a:pt x="0" y="3177"/>
                </a:moveTo>
                <a:cubicBezTo>
                  <a:pt x="175419" y="2912"/>
                  <a:pt x="192088" y="116948"/>
                  <a:pt x="355600" y="117477"/>
                </a:cubicBezTo>
                <a:cubicBezTo>
                  <a:pt x="519112" y="118006"/>
                  <a:pt x="525992" y="6352"/>
                  <a:pt x="714375" y="6352"/>
                </a:cubicBezTo>
                <a:cubicBezTo>
                  <a:pt x="902758" y="6352"/>
                  <a:pt x="899583" y="121181"/>
                  <a:pt x="1066800" y="117477"/>
                </a:cubicBezTo>
                <a:cubicBezTo>
                  <a:pt x="1234017" y="113773"/>
                  <a:pt x="1261533" y="3177"/>
                  <a:pt x="1431925" y="3177"/>
                </a:cubicBezTo>
                <a:cubicBezTo>
                  <a:pt x="1602317" y="3177"/>
                  <a:pt x="1618192" y="118006"/>
                  <a:pt x="1784350" y="117477"/>
                </a:cubicBezTo>
                <a:cubicBezTo>
                  <a:pt x="1950508" y="116948"/>
                  <a:pt x="1970088" y="531"/>
                  <a:pt x="2143125" y="2"/>
                </a:cubicBezTo>
                <a:cubicBezTo>
                  <a:pt x="2316162" y="-527"/>
                  <a:pt x="2332038" y="110069"/>
                  <a:pt x="2498725" y="114302"/>
                </a:cubicBezTo>
                <a:cubicBezTo>
                  <a:pt x="2665412" y="118535"/>
                  <a:pt x="2678113" y="6352"/>
                  <a:pt x="2857500" y="6352"/>
                </a:cubicBezTo>
                <a:cubicBezTo>
                  <a:pt x="3036887" y="6352"/>
                  <a:pt x="3027363" y="111656"/>
                  <a:pt x="3213100" y="114302"/>
                </a:cubicBezTo>
                <a:cubicBezTo>
                  <a:pt x="3398837" y="116948"/>
                  <a:pt x="3383492" y="2648"/>
                  <a:pt x="3571875" y="3177"/>
                </a:cubicBezTo>
                <a:cubicBezTo>
                  <a:pt x="3760258" y="3706"/>
                  <a:pt x="3747558" y="117477"/>
                  <a:pt x="3924300" y="117477"/>
                </a:cubicBezTo>
                <a:cubicBezTo>
                  <a:pt x="4101042" y="117477"/>
                  <a:pt x="4116917" y="6352"/>
                  <a:pt x="4289425" y="3177"/>
                </a:cubicBezTo>
              </a:path>
            </a:pathLst>
          </a:custGeom>
          <a:ln w="88900">
            <a:solidFill>
              <a:schemeClr val="accent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sv-SE" sz="2400"/>
          </a:p>
        </p:txBody>
      </p:sp>
      <p:sp>
        <p:nvSpPr>
          <p:cNvPr id="6" name="Platshållare för datum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695141-9345-4AAF-8A81-3B654683FB67}" type="datetime1">
              <a:rPr lang="sv-SE" smtClean="0"/>
              <a:t>2023-12-11</a:t>
            </a:fld>
            <a:endParaRPr lang="sv-SE"/>
          </a:p>
        </p:txBody>
      </p:sp>
      <p:sp>
        <p:nvSpPr>
          <p:cNvPr id="7" name="Platshållare för sidfot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sv-SE"/>
              <a:t>Sidfotstext (ändras under Meny Infoga och knappen Sidhuvud/Sidfot)</a:t>
            </a:r>
          </a:p>
        </p:txBody>
      </p:sp>
      <p:sp>
        <p:nvSpPr>
          <p:cNvPr id="8" name="Platshållare för bildnumm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289378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bild avdelar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78367" y="1350434"/>
            <a:ext cx="11235267" cy="1930401"/>
          </a:xfrm>
        </p:spPr>
        <p:txBody>
          <a:bodyPr anchor="b"/>
          <a:lstStyle>
            <a:lvl1pPr algn="ctr">
              <a:lnSpc>
                <a:spcPct val="85000"/>
              </a:lnSpc>
              <a:defRPr sz="5333" kern="0" spc="-107" baseline="0"/>
            </a:lvl1pPr>
          </a:lstStyle>
          <a:p>
            <a:r>
              <a:rPr lang="sv-SE"/>
              <a:t>Lägg till rubrik</a:t>
            </a:r>
          </a:p>
        </p:txBody>
      </p:sp>
      <p:sp>
        <p:nvSpPr>
          <p:cNvPr id="10" name="Platshållare för text 6"/>
          <p:cNvSpPr>
            <a:spLocks noGrp="1"/>
          </p:cNvSpPr>
          <p:nvPr>
            <p:ph type="body" sz="quarter" idx="13" hasCustomPrompt="1"/>
          </p:nvPr>
        </p:nvSpPr>
        <p:spPr>
          <a:xfrm>
            <a:off x="478367" y="4068234"/>
            <a:ext cx="11235267" cy="960967"/>
          </a:xfrm>
        </p:spPr>
        <p:txBody>
          <a:bodyPr/>
          <a:lstStyle>
            <a:lvl1pPr algn="ctr">
              <a:lnSpc>
                <a:spcPct val="95000"/>
              </a:lnSpc>
              <a:defRPr sz="2400"/>
            </a:lvl1pPr>
          </a:lstStyle>
          <a:p>
            <a:pPr lvl="0"/>
            <a:r>
              <a:rPr lang="sv-SE"/>
              <a:t>Lägg till underrubrik</a:t>
            </a:r>
          </a:p>
        </p:txBody>
      </p:sp>
      <p:grpSp>
        <p:nvGrpSpPr>
          <p:cNvPr id="8" name="Grupp 7"/>
          <p:cNvGrpSpPr/>
          <p:nvPr userDrawn="1"/>
        </p:nvGrpSpPr>
        <p:grpSpPr>
          <a:xfrm>
            <a:off x="4228818" y="3540441"/>
            <a:ext cx="3734365" cy="264000"/>
            <a:chOff x="2637836" y="1858575"/>
            <a:chExt cx="2800774" cy="198000"/>
          </a:xfrm>
        </p:grpSpPr>
        <p:sp>
          <p:nvSpPr>
            <p:cNvPr id="9" name="Ellips 8"/>
            <p:cNvSpPr>
              <a:spLocks noChangeAspect="1"/>
            </p:cNvSpPr>
            <p:nvPr userDrawn="1"/>
          </p:nvSpPr>
          <p:spPr>
            <a:xfrm>
              <a:off x="4720056" y="1858575"/>
              <a:ext cx="198000" cy="198000"/>
            </a:xfrm>
            <a:prstGeom prst="ellipse">
              <a:avLst/>
            </a:prstGeom>
            <a:noFill/>
            <a:ln w="76200">
              <a:solidFill>
                <a:schemeClr val="accent2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sv-SE" sz="2400"/>
            </a:p>
          </p:txBody>
        </p:sp>
        <p:sp>
          <p:nvSpPr>
            <p:cNvPr id="12" name="Ellips 11"/>
            <p:cNvSpPr>
              <a:spLocks noChangeAspect="1"/>
            </p:cNvSpPr>
            <p:nvPr userDrawn="1"/>
          </p:nvSpPr>
          <p:spPr>
            <a:xfrm>
              <a:off x="4199501" y="1858575"/>
              <a:ext cx="198000" cy="198000"/>
            </a:xfrm>
            <a:prstGeom prst="ellipse">
              <a:avLst/>
            </a:prstGeom>
            <a:noFill/>
            <a:ln w="76200">
              <a:solidFill>
                <a:schemeClr val="accent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sv-SE" sz="2400"/>
            </a:p>
          </p:txBody>
        </p:sp>
        <p:sp>
          <p:nvSpPr>
            <p:cNvPr id="13" name="Ellips 12"/>
            <p:cNvSpPr>
              <a:spLocks noChangeAspect="1"/>
            </p:cNvSpPr>
            <p:nvPr userDrawn="1"/>
          </p:nvSpPr>
          <p:spPr>
            <a:xfrm>
              <a:off x="5240610" y="1858575"/>
              <a:ext cx="198000" cy="198000"/>
            </a:xfrm>
            <a:custGeom>
              <a:avLst/>
              <a:gdLst>
                <a:gd name="connsiteX0" fmla="*/ 0 w 198000"/>
                <a:gd name="connsiteY0" fmla="*/ 99000 h 198000"/>
                <a:gd name="connsiteX1" fmla="*/ 99000 w 198000"/>
                <a:gd name="connsiteY1" fmla="*/ 0 h 198000"/>
                <a:gd name="connsiteX2" fmla="*/ 198000 w 198000"/>
                <a:gd name="connsiteY2" fmla="*/ 99000 h 198000"/>
                <a:gd name="connsiteX3" fmla="*/ 99000 w 198000"/>
                <a:gd name="connsiteY3" fmla="*/ 198000 h 198000"/>
                <a:gd name="connsiteX4" fmla="*/ 0 w 198000"/>
                <a:gd name="connsiteY4" fmla="*/ 99000 h 198000"/>
                <a:gd name="connsiteX0" fmla="*/ 99000 w 198000"/>
                <a:gd name="connsiteY0" fmla="*/ 198000 h 289440"/>
                <a:gd name="connsiteX1" fmla="*/ 0 w 198000"/>
                <a:gd name="connsiteY1" fmla="*/ 99000 h 289440"/>
                <a:gd name="connsiteX2" fmla="*/ 99000 w 198000"/>
                <a:gd name="connsiteY2" fmla="*/ 0 h 289440"/>
                <a:gd name="connsiteX3" fmla="*/ 198000 w 198000"/>
                <a:gd name="connsiteY3" fmla="*/ 99000 h 289440"/>
                <a:gd name="connsiteX4" fmla="*/ 190440 w 198000"/>
                <a:gd name="connsiteY4" fmla="*/ 289440 h 289440"/>
                <a:gd name="connsiteX0" fmla="*/ 99000 w 198000"/>
                <a:gd name="connsiteY0" fmla="*/ 198000 h 198000"/>
                <a:gd name="connsiteX1" fmla="*/ 0 w 198000"/>
                <a:gd name="connsiteY1" fmla="*/ 99000 h 198000"/>
                <a:gd name="connsiteX2" fmla="*/ 99000 w 198000"/>
                <a:gd name="connsiteY2" fmla="*/ 0 h 198000"/>
                <a:gd name="connsiteX3" fmla="*/ 198000 w 198000"/>
                <a:gd name="connsiteY3" fmla="*/ 99000 h 19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8000" h="198000">
                  <a:moveTo>
                    <a:pt x="99000" y="198000"/>
                  </a:moveTo>
                  <a:cubicBezTo>
                    <a:pt x="44324" y="198000"/>
                    <a:pt x="0" y="153676"/>
                    <a:pt x="0" y="99000"/>
                  </a:cubicBezTo>
                  <a:cubicBezTo>
                    <a:pt x="0" y="44324"/>
                    <a:pt x="44324" y="0"/>
                    <a:pt x="99000" y="0"/>
                  </a:cubicBezTo>
                  <a:cubicBezTo>
                    <a:pt x="153676" y="0"/>
                    <a:pt x="198000" y="44324"/>
                    <a:pt x="198000" y="99000"/>
                  </a:cubicBezTo>
                </a:path>
              </a:pathLst>
            </a:custGeom>
            <a:noFill/>
            <a:ln w="76200">
              <a:solidFill>
                <a:schemeClr val="accent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sv-SE" sz="2400"/>
            </a:p>
          </p:txBody>
        </p:sp>
        <p:sp>
          <p:nvSpPr>
            <p:cNvPr id="14" name="Ellips 13"/>
            <p:cNvSpPr>
              <a:spLocks noChangeAspect="1"/>
            </p:cNvSpPr>
            <p:nvPr userDrawn="1"/>
          </p:nvSpPr>
          <p:spPr>
            <a:xfrm>
              <a:off x="3678946" y="1858575"/>
              <a:ext cx="198000" cy="198000"/>
            </a:xfrm>
            <a:prstGeom prst="ellipse">
              <a:avLst/>
            </a:prstGeom>
            <a:noFill/>
            <a:ln w="76200">
              <a:solidFill>
                <a:schemeClr val="accent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sv-SE" sz="2400"/>
            </a:p>
          </p:txBody>
        </p:sp>
        <p:sp>
          <p:nvSpPr>
            <p:cNvPr id="15" name="Ellips 12"/>
            <p:cNvSpPr>
              <a:spLocks noChangeAspect="1"/>
            </p:cNvSpPr>
            <p:nvPr userDrawn="1"/>
          </p:nvSpPr>
          <p:spPr>
            <a:xfrm rot="10800000">
              <a:off x="3158391" y="1858575"/>
              <a:ext cx="198000" cy="198000"/>
            </a:xfrm>
            <a:custGeom>
              <a:avLst/>
              <a:gdLst>
                <a:gd name="connsiteX0" fmla="*/ 0 w 198000"/>
                <a:gd name="connsiteY0" fmla="*/ 99000 h 198000"/>
                <a:gd name="connsiteX1" fmla="*/ 99000 w 198000"/>
                <a:gd name="connsiteY1" fmla="*/ 0 h 198000"/>
                <a:gd name="connsiteX2" fmla="*/ 198000 w 198000"/>
                <a:gd name="connsiteY2" fmla="*/ 99000 h 198000"/>
                <a:gd name="connsiteX3" fmla="*/ 99000 w 198000"/>
                <a:gd name="connsiteY3" fmla="*/ 198000 h 198000"/>
                <a:gd name="connsiteX4" fmla="*/ 0 w 198000"/>
                <a:gd name="connsiteY4" fmla="*/ 99000 h 198000"/>
                <a:gd name="connsiteX0" fmla="*/ 99000 w 198000"/>
                <a:gd name="connsiteY0" fmla="*/ 198000 h 289440"/>
                <a:gd name="connsiteX1" fmla="*/ 0 w 198000"/>
                <a:gd name="connsiteY1" fmla="*/ 99000 h 289440"/>
                <a:gd name="connsiteX2" fmla="*/ 99000 w 198000"/>
                <a:gd name="connsiteY2" fmla="*/ 0 h 289440"/>
                <a:gd name="connsiteX3" fmla="*/ 198000 w 198000"/>
                <a:gd name="connsiteY3" fmla="*/ 99000 h 289440"/>
                <a:gd name="connsiteX4" fmla="*/ 190440 w 198000"/>
                <a:gd name="connsiteY4" fmla="*/ 289440 h 289440"/>
                <a:gd name="connsiteX0" fmla="*/ 99000 w 198000"/>
                <a:gd name="connsiteY0" fmla="*/ 198000 h 198000"/>
                <a:gd name="connsiteX1" fmla="*/ 0 w 198000"/>
                <a:gd name="connsiteY1" fmla="*/ 99000 h 198000"/>
                <a:gd name="connsiteX2" fmla="*/ 99000 w 198000"/>
                <a:gd name="connsiteY2" fmla="*/ 0 h 198000"/>
                <a:gd name="connsiteX3" fmla="*/ 198000 w 198000"/>
                <a:gd name="connsiteY3" fmla="*/ 99000 h 19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8000" h="198000">
                  <a:moveTo>
                    <a:pt x="99000" y="198000"/>
                  </a:moveTo>
                  <a:cubicBezTo>
                    <a:pt x="44324" y="198000"/>
                    <a:pt x="0" y="153676"/>
                    <a:pt x="0" y="99000"/>
                  </a:cubicBezTo>
                  <a:cubicBezTo>
                    <a:pt x="0" y="44324"/>
                    <a:pt x="44324" y="0"/>
                    <a:pt x="99000" y="0"/>
                  </a:cubicBezTo>
                  <a:cubicBezTo>
                    <a:pt x="153676" y="0"/>
                    <a:pt x="198000" y="44324"/>
                    <a:pt x="198000" y="99000"/>
                  </a:cubicBezTo>
                </a:path>
              </a:pathLst>
            </a:custGeom>
            <a:noFill/>
            <a:ln w="76200">
              <a:solidFill>
                <a:schemeClr val="accent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sv-SE" sz="2400"/>
            </a:p>
          </p:txBody>
        </p:sp>
        <p:sp>
          <p:nvSpPr>
            <p:cNvPr id="16" name="Ellips 15"/>
            <p:cNvSpPr>
              <a:spLocks noChangeAspect="1"/>
            </p:cNvSpPr>
            <p:nvPr userDrawn="1"/>
          </p:nvSpPr>
          <p:spPr>
            <a:xfrm>
              <a:off x="2637836" y="1858575"/>
              <a:ext cx="198000" cy="198000"/>
            </a:xfrm>
            <a:prstGeom prst="ellipse">
              <a:avLst/>
            </a:prstGeom>
            <a:noFill/>
            <a:ln w="76200">
              <a:solidFill>
                <a:schemeClr val="accent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sv-SE" sz="2400"/>
            </a:p>
          </p:txBody>
        </p:sp>
      </p:grpSp>
      <p:sp>
        <p:nvSpPr>
          <p:cNvPr id="6" name="Platshållare för datum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A493EA4-7860-4820-8FFE-AA204736DE43}" type="datetime1">
              <a:rPr lang="sv-SE" smtClean="0"/>
              <a:t>2023-12-11</a:t>
            </a:fld>
            <a:endParaRPr lang="sv-SE"/>
          </a:p>
        </p:txBody>
      </p:sp>
      <p:sp>
        <p:nvSpPr>
          <p:cNvPr id="7" name="Platshållare för sidfot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sv-SE"/>
              <a:t>Sidfotstext (ändras under Meny Infoga och knappen Sidhuvud/Sidfot)</a:t>
            </a:r>
          </a:p>
        </p:txBody>
      </p:sp>
      <p:sp>
        <p:nvSpPr>
          <p:cNvPr id="11" name="Platshållare för bild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2963758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bild avdelar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78367" y="1350434"/>
            <a:ext cx="11235267" cy="1929068"/>
          </a:xfrm>
        </p:spPr>
        <p:txBody>
          <a:bodyPr anchor="b"/>
          <a:lstStyle>
            <a:lvl1pPr algn="ctr">
              <a:lnSpc>
                <a:spcPct val="85000"/>
              </a:lnSpc>
              <a:defRPr sz="5333" kern="0" spc="-107" baseline="0">
                <a:solidFill>
                  <a:schemeClr val="accent1"/>
                </a:solidFill>
              </a:defRPr>
            </a:lvl1pPr>
          </a:lstStyle>
          <a:p>
            <a:r>
              <a:rPr lang="sv-SE"/>
              <a:t>Lägg till rubrik</a:t>
            </a:r>
          </a:p>
        </p:txBody>
      </p:sp>
      <p:sp>
        <p:nvSpPr>
          <p:cNvPr id="10" name="Platshållare för text 6"/>
          <p:cNvSpPr>
            <a:spLocks noGrp="1"/>
          </p:cNvSpPr>
          <p:nvPr>
            <p:ph type="body" sz="quarter" idx="13" hasCustomPrompt="1"/>
          </p:nvPr>
        </p:nvSpPr>
        <p:spPr>
          <a:xfrm>
            <a:off x="478367" y="3484801"/>
            <a:ext cx="11235267" cy="553799"/>
          </a:xfrm>
        </p:spPr>
        <p:txBody>
          <a:bodyPr/>
          <a:lstStyle>
            <a:lvl1pPr algn="ctr">
              <a:lnSpc>
                <a:spcPct val="95000"/>
              </a:lnSpc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sv-SE"/>
              <a:t>Lägg till underrubrik</a:t>
            </a:r>
          </a:p>
        </p:txBody>
      </p:sp>
      <p:grpSp>
        <p:nvGrpSpPr>
          <p:cNvPr id="8" name="Grupp 7"/>
          <p:cNvGrpSpPr/>
          <p:nvPr userDrawn="1"/>
        </p:nvGrpSpPr>
        <p:grpSpPr>
          <a:xfrm>
            <a:off x="4164182" y="3984001"/>
            <a:ext cx="4058369" cy="552001"/>
            <a:chOff x="2435957" y="2828543"/>
            <a:chExt cx="3043777" cy="414001"/>
          </a:xfrm>
        </p:grpSpPr>
        <p:sp>
          <p:nvSpPr>
            <p:cNvPr id="7" name="Rektangel 6"/>
            <p:cNvSpPr/>
            <p:nvPr userDrawn="1"/>
          </p:nvSpPr>
          <p:spPr>
            <a:xfrm rot="18900000">
              <a:off x="2435957" y="2828545"/>
              <a:ext cx="98425" cy="4139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2400"/>
            </a:p>
          </p:txBody>
        </p:sp>
        <p:sp>
          <p:nvSpPr>
            <p:cNvPr id="19" name="Rektangel 18"/>
            <p:cNvSpPr/>
            <p:nvPr userDrawn="1"/>
          </p:nvSpPr>
          <p:spPr>
            <a:xfrm rot="18900000">
              <a:off x="2926849" y="2828544"/>
              <a:ext cx="98425" cy="4139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2400"/>
            </a:p>
          </p:txBody>
        </p:sp>
        <p:sp>
          <p:nvSpPr>
            <p:cNvPr id="20" name="Rektangel 19"/>
            <p:cNvSpPr/>
            <p:nvPr userDrawn="1"/>
          </p:nvSpPr>
          <p:spPr>
            <a:xfrm rot="18900000">
              <a:off x="3417741" y="2828544"/>
              <a:ext cx="98425" cy="4139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2400"/>
            </a:p>
          </p:txBody>
        </p:sp>
        <p:sp>
          <p:nvSpPr>
            <p:cNvPr id="21" name="Rektangel 20"/>
            <p:cNvSpPr/>
            <p:nvPr userDrawn="1"/>
          </p:nvSpPr>
          <p:spPr>
            <a:xfrm rot="18900000">
              <a:off x="3908633" y="2828544"/>
              <a:ext cx="98425" cy="4139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2400"/>
            </a:p>
          </p:txBody>
        </p:sp>
        <p:sp>
          <p:nvSpPr>
            <p:cNvPr id="22" name="Rektangel 21"/>
            <p:cNvSpPr/>
            <p:nvPr userDrawn="1"/>
          </p:nvSpPr>
          <p:spPr>
            <a:xfrm rot="18900000">
              <a:off x="4399525" y="2828544"/>
              <a:ext cx="98425" cy="41399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2400"/>
            </a:p>
          </p:txBody>
        </p:sp>
        <p:sp>
          <p:nvSpPr>
            <p:cNvPr id="23" name="Rektangel 22"/>
            <p:cNvSpPr/>
            <p:nvPr userDrawn="1"/>
          </p:nvSpPr>
          <p:spPr>
            <a:xfrm rot="18900000">
              <a:off x="4890417" y="2828544"/>
              <a:ext cx="98425" cy="4139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2400"/>
            </a:p>
          </p:txBody>
        </p:sp>
        <p:sp>
          <p:nvSpPr>
            <p:cNvPr id="24" name="Rektangel 23"/>
            <p:cNvSpPr/>
            <p:nvPr userDrawn="1"/>
          </p:nvSpPr>
          <p:spPr>
            <a:xfrm rot="18900000">
              <a:off x="5381309" y="2828543"/>
              <a:ext cx="98425" cy="4139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2400"/>
            </a:p>
          </p:txBody>
        </p:sp>
      </p:grpSp>
      <p:sp>
        <p:nvSpPr>
          <p:cNvPr id="6" name="Platshållare för datum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E1D07EA-DED5-42A7-B39E-FCC701E4BDD6}" type="datetime1">
              <a:rPr lang="sv-SE" smtClean="0"/>
              <a:t>2023-12-11</a:t>
            </a:fld>
            <a:endParaRPr lang="sv-SE"/>
          </a:p>
        </p:txBody>
      </p:sp>
      <p:sp>
        <p:nvSpPr>
          <p:cNvPr id="9" name="Platshållare för sidfot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sv-SE"/>
              <a:t>Sidfotstext (ändras under Meny Infoga och knappen Sidhuvud/Sidfot)</a:t>
            </a:r>
          </a:p>
        </p:txBody>
      </p:sp>
      <p:sp>
        <p:nvSpPr>
          <p:cNvPr id="11" name="Platshållare för bild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692455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bild avdelar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78367" y="1350434"/>
            <a:ext cx="11235267" cy="1930401"/>
          </a:xfrm>
        </p:spPr>
        <p:txBody>
          <a:bodyPr anchor="b"/>
          <a:lstStyle>
            <a:lvl1pPr algn="ctr">
              <a:lnSpc>
                <a:spcPct val="85000"/>
              </a:lnSpc>
              <a:defRPr sz="5333" kern="0" spc="-107" baseline="0"/>
            </a:lvl1pPr>
          </a:lstStyle>
          <a:p>
            <a:r>
              <a:rPr lang="sv-SE"/>
              <a:t>Lägg till rubrik</a:t>
            </a:r>
          </a:p>
        </p:txBody>
      </p:sp>
      <p:sp>
        <p:nvSpPr>
          <p:cNvPr id="10" name="Platshållare för text 6"/>
          <p:cNvSpPr>
            <a:spLocks noGrp="1"/>
          </p:cNvSpPr>
          <p:nvPr>
            <p:ph type="body" sz="quarter" idx="13" hasCustomPrompt="1"/>
          </p:nvPr>
        </p:nvSpPr>
        <p:spPr>
          <a:xfrm>
            <a:off x="478367" y="4068234"/>
            <a:ext cx="11235267" cy="960967"/>
          </a:xfrm>
        </p:spPr>
        <p:txBody>
          <a:bodyPr/>
          <a:lstStyle>
            <a:lvl1pPr algn="ctr">
              <a:lnSpc>
                <a:spcPct val="95000"/>
              </a:lnSpc>
              <a:defRPr sz="2400"/>
            </a:lvl1pPr>
          </a:lstStyle>
          <a:p>
            <a:pPr lvl="0"/>
            <a:r>
              <a:rPr lang="sv-SE"/>
              <a:t>Lägg till underrubrik</a:t>
            </a:r>
          </a:p>
        </p:txBody>
      </p:sp>
      <p:grpSp>
        <p:nvGrpSpPr>
          <p:cNvPr id="7" name="Grupp 6"/>
          <p:cNvGrpSpPr/>
          <p:nvPr userDrawn="1"/>
        </p:nvGrpSpPr>
        <p:grpSpPr>
          <a:xfrm>
            <a:off x="3456000" y="3612553"/>
            <a:ext cx="5280000" cy="123961"/>
            <a:chOff x="2592000" y="2709414"/>
            <a:chExt cx="3960000" cy="92971"/>
          </a:xfrm>
        </p:grpSpPr>
        <p:sp>
          <p:nvSpPr>
            <p:cNvPr id="6" name="Rektangel 5"/>
            <p:cNvSpPr/>
            <p:nvPr userDrawn="1"/>
          </p:nvSpPr>
          <p:spPr>
            <a:xfrm>
              <a:off x="2592000" y="2709414"/>
              <a:ext cx="313125" cy="9297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2400"/>
            </a:p>
          </p:txBody>
        </p:sp>
        <p:sp>
          <p:nvSpPr>
            <p:cNvPr id="12" name="Rektangel 11"/>
            <p:cNvSpPr/>
            <p:nvPr userDrawn="1"/>
          </p:nvSpPr>
          <p:spPr>
            <a:xfrm>
              <a:off x="3199812" y="2709414"/>
              <a:ext cx="313125" cy="9297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2400"/>
            </a:p>
          </p:txBody>
        </p:sp>
        <p:sp>
          <p:nvSpPr>
            <p:cNvPr id="13" name="Rektangel 12"/>
            <p:cNvSpPr/>
            <p:nvPr userDrawn="1"/>
          </p:nvSpPr>
          <p:spPr>
            <a:xfrm>
              <a:off x="3807625" y="2709414"/>
              <a:ext cx="313125" cy="9297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2400"/>
            </a:p>
          </p:txBody>
        </p:sp>
        <p:sp>
          <p:nvSpPr>
            <p:cNvPr id="14" name="Rektangel 13"/>
            <p:cNvSpPr/>
            <p:nvPr userDrawn="1"/>
          </p:nvSpPr>
          <p:spPr>
            <a:xfrm>
              <a:off x="4415438" y="2709414"/>
              <a:ext cx="313125" cy="9297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2400"/>
            </a:p>
          </p:txBody>
        </p:sp>
        <p:sp>
          <p:nvSpPr>
            <p:cNvPr id="15" name="Rektangel 14"/>
            <p:cNvSpPr/>
            <p:nvPr userDrawn="1"/>
          </p:nvSpPr>
          <p:spPr>
            <a:xfrm>
              <a:off x="5023251" y="2709414"/>
              <a:ext cx="313125" cy="9297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2400"/>
            </a:p>
          </p:txBody>
        </p:sp>
        <p:sp>
          <p:nvSpPr>
            <p:cNvPr id="16" name="Rektangel 15"/>
            <p:cNvSpPr/>
            <p:nvPr userDrawn="1"/>
          </p:nvSpPr>
          <p:spPr>
            <a:xfrm>
              <a:off x="5631063" y="2709414"/>
              <a:ext cx="313125" cy="9297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2400"/>
            </a:p>
          </p:txBody>
        </p:sp>
        <p:sp>
          <p:nvSpPr>
            <p:cNvPr id="17" name="Rektangel 16"/>
            <p:cNvSpPr/>
            <p:nvPr userDrawn="1"/>
          </p:nvSpPr>
          <p:spPr>
            <a:xfrm>
              <a:off x="6238875" y="2709414"/>
              <a:ext cx="313125" cy="9297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2400"/>
            </a:p>
          </p:txBody>
        </p:sp>
      </p:grpSp>
      <p:sp>
        <p:nvSpPr>
          <p:cNvPr id="8" name="Platshållare för datum 7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2CB7003-D184-4929-BCC7-5917D4E1D7F5}" type="datetime1">
              <a:rPr lang="sv-SE" smtClean="0"/>
              <a:t>2023-12-11</a:t>
            </a:fld>
            <a:endParaRPr lang="sv-SE"/>
          </a:p>
        </p:txBody>
      </p:sp>
      <p:sp>
        <p:nvSpPr>
          <p:cNvPr id="9" name="Platshållare för sidfot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sv-SE"/>
              <a:t>Sidfotstext (ändras under Meny Infoga och knappen Sidhuvud/Sidfot)</a:t>
            </a:r>
          </a:p>
        </p:txBody>
      </p:sp>
      <p:sp>
        <p:nvSpPr>
          <p:cNvPr id="11" name="Platshållare för bild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839904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58C6628-DB45-42E7-A81E-30290FE114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/>
              <a:t>Lägg till rubrik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0E4E7DDD-A34D-4542-AC1B-E551D89B6B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F68B57-7F0D-4A07-8B76-6DDCC0EF5093}" type="datetime1">
              <a:rPr lang="sv-SE" smtClean="0"/>
              <a:t>2023-12-11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8187DA18-3640-4ECA-AF96-5C0B1711C4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idfotstext (ändras under Meny Infoga och knappen Sidhuvud/Sidfot)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C6AC03A7-6564-4B9C-944F-07AE414981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761029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74304A9-AB1F-4FC0-A308-05A2ABAE6F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v-SE"/>
              <a:t>Lägg till rubrik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20748732-0971-4FEA-ABD1-69385C3B00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A649B5-F7F9-40C5-92EF-7F738E664484}" type="datetime1">
              <a:rPr lang="sv-SE" smtClean="0"/>
              <a:t>2023-12-11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38734AEE-519F-42A1-986C-102148BDA6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idfotstext (ändras under Meny Infoga och knappen Sidhuvud/Sidfot)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15E0B101-04F6-4AB3-AEBE-3B170B8AD4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Platshållare för innehåll 6">
            <a:extLst>
              <a:ext uri="{FF2B5EF4-FFF2-40B4-BE49-F238E27FC236}">
                <a16:creationId xmlns:a16="http://schemas.microsoft.com/office/drawing/2014/main" id="{394EB835-DD35-405B-932E-86D3D886961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78368" y="1350434"/>
            <a:ext cx="11235267" cy="4610100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7030081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objekt med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78367" y="478366"/>
            <a:ext cx="11235267" cy="753535"/>
          </a:xfrm>
        </p:spPr>
        <p:txBody>
          <a:bodyPr/>
          <a:lstStyle/>
          <a:p>
            <a:r>
              <a:rPr lang="sv-SE"/>
              <a:t>Lägg till rubrik</a:t>
            </a:r>
          </a:p>
        </p:txBody>
      </p:sp>
      <p:sp>
        <p:nvSpPr>
          <p:cNvPr id="7" name="Platshållare för text 6"/>
          <p:cNvSpPr>
            <a:spLocks noGrp="1"/>
          </p:cNvSpPr>
          <p:nvPr>
            <p:ph type="body" sz="quarter" idx="18" hasCustomPrompt="1"/>
          </p:nvPr>
        </p:nvSpPr>
        <p:spPr>
          <a:xfrm>
            <a:off x="478367" y="1348800"/>
            <a:ext cx="11235267" cy="384000"/>
          </a:xfrm>
        </p:spPr>
        <p:txBody>
          <a:bodyPr>
            <a:normAutofit/>
          </a:bodyPr>
          <a:lstStyle>
            <a:lvl1pPr>
              <a:defRPr sz="2000" b="1" spc="0" baseline="0">
                <a:latin typeface="+mn-lt"/>
                <a:cs typeface="FrankRuehl" panose="020B0604020202020204" pitchFamily="34" charset="-79"/>
              </a:defRPr>
            </a:lvl1pPr>
          </a:lstStyle>
          <a:p>
            <a:pPr lvl="0"/>
            <a:r>
              <a:rPr lang="sv-SE"/>
              <a:t>Lägg till rubrik</a:t>
            </a:r>
          </a:p>
        </p:txBody>
      </p:sp>
      <p:sp>
        <p:nvSpPr>
          <p:cNvPr id="8" name="Platshållare för innehåll 7"/>
          <p:cNvSpPr>
            <a:spLocks noGrp="1"/>
          </p:cNvSpPr>
          <p:nvPr>
            <p:ph sz="quarter" idx="13"/>
          </p:nvPr>
        </p:nvSpPr>
        <p:spPr>
          <a:xfrm>
            <a:off x="478367" y="1732800"/>
            <a:ext cx="11235267" cy="4227733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datum 5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0F6330A-6B4E-4ACE-96C0-84F1A5B6CA9F}" type="datetime1">
              <a:rPr lang="sv-SE" smtClean="0"/>
              <a:t>2023-12-11</a:t>
            </a:fld>
            <a:endParaRPr lang="sv-SE"/>
          </a:p>
        </p:txBody>
      </p:sp>
      <p:sp>
        <p:nvSpPr>
          <p:cNvPr id="9" name="Platshållare för sidfot 8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sv-SE"/>
              <a:t>Sidfotstext (ändras under Meny Infoga och knappen Sidhuvud/Sidfot)</a:t>
            </a:r>
          </a:p>
        </p:txBody>
      </p:sp>
      <p:sp>
        <p:nvSpPr>
          <p:cNvPr id="11" name="Platshållare för bildnummer 10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9719530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2 objekt med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78367" y="478366"/>
            <a:ext cx="11235267" cy="753535"/>
          </a:xfrm>
        </p:spPr>
        <p:txBody>
          <a:bodyPr/>
          <a:lstStyle/>
          <a:p>
            <a:r>
              <a:rPr lang="sv-SE"/>
              <a:t>Lägg till rubrik</a:t>
            </a:r>
          </a:p>
        </p:txBody>
      </p:sp>
      <p:sp>
        <p:nvSpPr>
          <p:cNvPr id="7" name="Platshållare för text 6"/>
          <p:cNvSpPr>
            <a:spLocks noGrp="1"/>
          </p:cNvSpPr>
          <p:nvPr>
            <p:ph type="body" sz="quarter" idx="18" hasCustomPrompt="1"/>
          </p:nvPr>
        </p:nvSpPr>
        <p:spPr>
          <a:xfrm>
            <a:off x="478367" y="1348800"/>
            <a:ext cx="5520267" cy="384000"/>
          </a:xfrm>
        </p:spPr>
        <p:txBody>
          <a:bodyPr>
            <a:normAutofit/>
          </a:bodyPr>
          <a:lstStyle>
            <a:lvl1pPr>
              <a:defRPr sz="2000" b="1" spc="0" baseline="0">
                <a:latin typeface="+mn-lt"/>
                <a:cs typeface="FrankRuehl" panose="020B0604020202020204" pitchFamily="34" charset="-79"/>
              </a:defRPr>
            </a:lvl1pPr>
          </a:lstStyle>
          <a:p>
            <a:pPr lvl="0"/>
            <a:r>
              <a:rPr lang="sv-SE"/>
              <a:t>Lägg till rubrik</a:t>
            </a:r>
          </a:p>
        </p:txBody>
      </p:sp>
      <p:sp>
        <p:nvSpPr>
          <p:cNvPr id="8" name="Platshållare för innehåll 7"/>
          <p:cNvSpPr>
            <a:spLocks noGrp="1"/>
          </p:cNvSpPr>
          <p:nvPr>
            <p:ph sz="quarter" idx="13"/>
          </p:nvPr>
        </p:nvSpPr>
        <p:spPr>
          <a:xfrm>
            <a:off x="478367" y="1732800"/>
            <a:ext cx="5520267" cy="4228800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3" name="Platshållare för text 12"/>
          <p:cNvSpPr>
            <a:spLocks noGrp="1"/>
          </p:cNvSpPr>
          <p:nvPr>
            <p:ph type="body" sz="quarter" idx="19" hasCustomPrompt="1"/>
          </p:nvPr>
        </p:nvSpPr>
        <p:spPr>
          <a:xfrm>
            <a:off x="6193367" y="1348800"/>
            <a:ext cx="5520267" cy="384000"/>
          </a:xfrm>
        </p:spPr>
        <p:txBody>
          <a:bodyPr>
            <a:normAutofit/>
          </a:bodyPr>
          <a:lstStyle>
            <a:lvl1pPr>
              <a:defRPr sz="2000" b="1" spc="0" baseline="0">
                <a:latin typeface="+mn-lt"/>
              </a:defRPr>
            </a:lvl1pPr>
          </a:lstStyle>
          <a:p>
            <a:pPr lvl="0"/>
            <a:r>
              <a:rPr lang="sv-SE"/>
              <a:t>Lägg till rubrik</a:t>
            </a:r>
          </a:p>
        </p:txBody>
      </p:sp>
      <p:sp>
        <p:nvSpPr>
          <p:cNvPr id="10" name="Platshållare för innehåll 7"/>
          <p:cNvSpPr>
            <a:spLocks noGrp="1"/>
          </p:cNvSpPr>
          <p:nvPr>
            <p:ph sz="quarter" idx="15"/>
          </p:nvPr>
        </p:nvSpPr>
        <p:spPr>
          <a:xfrm>
            <a:off x="6193367" y="1732800"/>
            <a:ext cx="5520267" cy="4228800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datum 5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6686DF97-138B-45D8-AAE0-39C2581D107D}" type="datetime1">
              <a:rPr lang="sv-SE" smtClean="0"/>
              <a:t>2023-12-11</a:t>
            </a:fld>
            <a:endParaRPr lang="sv-SE"/>
          </a:p>
        </p:txBody>
      </p:sp>
      <p:sp>
        <p:nvSpPr>
          <p:cNvPr id="9" name="Platshållare för sidfot 8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sv-SE"/>
              <a:t>Sidfotstext (ändras under Meny Infoga och knappen Sidhuvud/Sidfot)</a:t>
            </a:r>
          </a:p>
        </p:txBody>
      </p:sp>
      <p:sp>
        <p:nvSpPr>
          <p:cNvPr id="11" name="Platshållare för bildnummer 10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550232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bild, sidf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12192000" cy="5960535"/>
          </a:xfrm>
          <a:solidFill>
            <a:schemeClr val="accent5"/>
          </a:solidFill>
        </p:spPr>
        <p:txBody>
          <a:bodyPr tIns="72000" anchor="t">
            <a:normAutofit/>
          </a:bodyPr>
          <a:lstStyle>
            <a:lvl1pPr algn="ctr">
              <a:defRPr sz="1333" baseline="0"/>
            </a:lvl1pPr>
          </a:lstStyle>
          <a:p>
            <a:r>
              <a:rPr lang="sv-SE"/>
              <a:t>Klicka här och infoga bild via knappen Bild i menyflik Infoga</a:t>
            </a: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78367" y="1344000"/>
            <a:ext cx="11235267" cy="1872000"/>
          </a:xfrm>
        </p:spPr>
        <p:txBody>
          <a:bodyPr anchor="b"/>
          <a:lstStyle>
            <a:lvl1pPr algn="ctr">
              <a:lnSpc>
                <a:spcPct val="85000"/>
              </a:lnSpc>
              <a:defRPr sz="5333" kern="0" spc="-107" baseline="0">
                <a:solidFill>
                  <a:schemeClr val="bg1"/>
                </a:solidFill>
                <a:effectLst/>
              </a:defRPr>
            </a:lvl1pPr>
          </a:lstStyle>
          <a:p>
            <a:r>
              <a:rPr lang="sv-SE"/>
              <a:t>Lägg till rubrik</a:t>
            </a:r>
          </a:p>
        </p:txBody>
      </p:sp>
      <p:sp>
        <p:nvSpPr>
          <p:cNvPr id="7" name="Platshållare för text 6"/>
          <p:cNvSpPr>
            <a:spLocks noGrp="1"/>
          </p:cNvSpPr>
          <p:nvPr>
            <p:ph type="body" sz="quarter" idx="13" hasCustomPrompt="1"/>
          </p:nvPr>
        </p:nvSpPr>
        <p:spPr>
          <a:xfrm>
            <a:off x="478367" y="3384001"/>
            <a:ext cx="11235267" cy="1617684"/>
          </a:xfrm>
        </p:spPr>
        <p:txBody>
          <a:bodyPr>
            <a:normAutofit/>
          </a:bodyPr>
          <a:lstStyle>
            <a:lvl1pPr algn="ctr">
              <a:lnSpc>
                <a:spcPct val="95000"/>
              </a:lnSpc>
              <a:defRPr sz="2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Lägg till underrubrik</a:t>
            </a:r>
          </a:p>
        </p:txBody>
      </p:sp>
      <p:sp>
        <p:nvSpPr>
          <p:cNvPr id="6" name="Platshållare för datum 5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CF22A0E-9C81-4AF1-BADA-5D81DF149BAF}" type="datetime1">
              <a:rPr lang="sv-SE" smtClean="0"/>
              <a:t>2023-12-11</a:t>
            </a:fld>
            <a:endParaRPr lang="sv-SE"/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sv-SE"/>
              <a:t>Sidfotstext (ändras under Meny Infoga och knappen Sidhuvud/Sidfot)</a:t>
            </a:r>
          </a:p>
        </p:txBody>
      </p:sp>
      <p:sp>
        <p:nvSpPr>
          <p:cNvPr id="10" name="Platshållare för bildnumm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5298278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under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78367" y="480000"/>
            <a:ext cx="11235267" cy="585600"/>
          </a:xfrm>
        </p:spPr>
        <p:txBody>
          <a:bodyPr/>
          <a:lstStyle/>
          <a:p>
            <a:r>
              <a:rPr lang="sv-SE"/>
              <a:t>Lägg till rubrik</a:t>
            </a:r>
          </a:p>
        </p:txBody>
      </p:sp>
      <p:sp>
        <p:nvSpPr>
          <p:cNvPr id="8" name="Platshållare för text 7"/>
          <p:cNvSpPr>
            <a:spLocks noGrp="1"/>
          </p:cNvSpPr>
          <p:nvPr>
            <p:ph type="body" sz="quarter" idx="13" hasCustomPrompt="1"/>
          </p:nvPr>
        </p:nvSpPr>
        <p:spPr>
          <a:xfrm>
            <a:off x="478367" y="1065600"/>
            <a:ext cx="11235267" cy="433352"/>
          </a:xfrm>
        </p:spPr>
        <p:txBody>
          <a:bodyPr>
            <a:noAutofit/>
          </a:bodyPr>
          <a:lstStyle>
            <a:lvl1pPr>
              <a:defRPr sz="2400" i="1" baseline="0"/>
            </a:lvl1pPr>
          </a:lstStyle>
          <a:p>
            <a:pPr lvl="0"/>
            <a:r>
              <a:rPr lang="sv-SE"/>
              <a:t>Lägg till underrubrik</a:t>
            </a:r>
          </a:p>
        </p:txBody>
      </p:sp>
      <p:sp>
        <p:nvSpPr>
          <p:cNvPr id="6" name="Platshållare för datum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A9326E7-6A68-44B9-B11D-CB5045955127}" type="datetime1">
              <a:rPr lang="sv-SE" smtClean="0"/>
              <a:t>2023-12-11</a:t>
            </a:fld>
            <a:endParaRPr lang="sv-SE"/>
          </a:p>
        </p:txBody>
      </p:sp>
      <p:sp>
        <p:nvSpPr>
          <p:cNvPr id="7" name="Platshållare för sidfot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sv-SE"/>
              <a:t>Sidfotstext (ändras under Meny Infoga och knappen Sidhuvud/Sidfot)</a:t>
            </a:r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961710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underrubrik,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78367" y="478365"/>
            <a:ext cx="11235267" cy="587235"/>
          </a:xfrm>
        </p:spPr>
        <p:txBody>
          <a:bodyPr/>
          <a:lstStyle/>
          <a:p>
            <a:r>
              <a:rPr lang="sv-SE"/>
              <a:t>Lägg till rubrik</a:t>
            </a:r>
          </a:p>
        </p:txBody>
      </p:sp>
      <p:sp>
        <p:nvSpPr>
          <p:cNvPr id="8" name="Platshållare för text 7"/>
          <p:cNvSpPr>
            <a:spLocks noGrp="1"/>
          </p:cNvSpPr>
          <p:nvPr>
            <p:ph type="body" sz="quarter" idx="13" hasCustomPrompt="1"/>
          </p:nvPr>
        </p:nvSpPr>
        <p:spPr>
          <a:xfrm>
            <a:off x="478367" y="1065600"/>
            <a:ext cx="11235267" cy="433352"/>
          </a:xfrm>
        </p:spPr>
        <p:txBody>
          <a:bodyPr>
            <a:noAutofit/>
          </a:bodyPr>
          <a:lstStyle>
            <a:lvl1pPr>
              <a:defRPr sz="2400" i="1"/>
            </a:lvl1pPr>
          </a:lstStyle>
          <a:p>
            <a:pPr lvl="0"/>
            <a:r>
              <a:rPr lang="sv-SE"/>
              <a:t>Lägg till underrubrik</a:t>
            </a:r>
          </a:p>
        </p:txBody>
      </p:sp>
      <p:sp>
        <p:nvSpPr>
          <p:cNvPr id="9" name="Platshållare för innehåll 8"/>
          <p:cNvSpPr>
            <a:spLocks noGrp="1"/>
          </p:cNvSpPr>
          <p:nvPr>
            <p:ph sz="quarter" idx="14"/>
          </p:nvPr>
        </p:nvSpPr>
        <p:spPr>
          <a:xfrm>
            <a:off x="478367" y="1776000"/>
            <a:ext cx="11235267" cy="4184533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datum 5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1268495-E491-40BE-96B5-388CFDAA5E5A}" type="datetime1">
              <a:rPr lang="sv-SE" smtClean="0"/>
              <a:t>2023-12-11</a:t>
            </a:fld>
            <a:endParaRPr lang="sv-SE"/>
          </a:p>
        </p:txBody>
      </p:sp>
      <p:sp>
        <p:nvSpPr>
          <p:cNvPr id="7" name="Platshållare för sidfot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sv-SE"/>
              <a:t>Sidfotstext (ändras under Meny Infoga och knappen Sidhuvud/Sidfot)</a:t>
            </a:r>
          </a:p>
        </p:txBody>
      </p:sp>
      <p:sp>
        <p:nvSpPr>
          <p:cNvPr id="10" name="Platshållare för bildnumm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635548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över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78367" y="960000"/>
            <a:ext cx="11235267" cy="480000"/>
          </a:xfrm>
        </p:spPr>
        <p:txBody>
          <a:bodyPr/>
          <a:lstStyle/>
          <a:p>
            <a:r>
              <a:rPr lang="sv-SE"/>
              <a:t>Lägg till rubrik</a:t>
            </a:r>
          </a:p>
        </p:txBody>
      </p:sp>
      <p:sp>
        <p:nvSpPr>
          <p:cNvPr id="8" name="Platshållare för text 7"/>
          <p:cNvSpPr>
            <a:spLocks noGrp="1"/>
          </p:cNvSpPr>
          <p:nvPr>
            <p:ph type="body" sz="quarter" idx="13" hasCustomPrompt="1"/>
          </p:nvPr>
        </p:nvSpPr>
        <p:spPr>
          <a:xfrm>
            <a:off x="478367" y="480483"/>
            <a:ext cx="11235267" cy="432868"/>
          </a:xfrm>
        </p:spPr>
        <p:txBody>
          <a:bodyPr>
            <a:noAutofit/>
          </a:bodyPr>
          <a:lstStyle>
            <a:lvl1pPr>
              <a:defRPr sz="2400" i="1" baseline="0"/>
            </a:lvl1pPr>
          </a:lstStyle>
          <a:p>
            <a:pPr lvl="0"/>
            <a:r>
              <a:rPr lang="sv-SE"/>
              <a:t>Lägg till underrubrik</a:t>
            </a:r>
          </a:p>
        </p:txBody>
      </p:sp>
      <p:sp>
        <p:nvSpPr>
          <p:cNvPr id="6" name="Platshållare för datum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C8CF9FC-6FD1-40DE-9026-EFF8305A3F84}" type="datetime1">
              <a:rPr lang="sv-SE" smtClean="0"/>
              <a:t>2023-12-11</a:t>
            </a:fld>
            <a:endParaRPr lang="sv-SE"/>
          </a:p>
        </p:txBody>
      </p:sp>
      <p:sp>
        <p:nvSpPr>
          <p:cNvPr id="7" name="Platshållare för sidfot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sv-SE"/>
              <a:t>Sidfotstext (ändras under Meny Infoga och knappen Sidhuvud/Sidfot)</a:t>
            </a:r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8984716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överrubrik,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78367" y="960000"/>
            <a:ext cx="11235267" cy="480000"/>
          </a:xfrm>
        </p:spPr>
        <p:txBody>
          <a:bodyPr/>
          <a:lstStyle/>
          <a:p>
            <a:r>
              <a:rPr lang="sv-SE"/>
              <a:t>Lägg till rubrik</a:t>
            </a:r>
          </a:p>
        </p:txBody>
      </p:sp>
      <p:sp>
        <p:nvSpPr>
          <p:cNvPr id="8" name="Platshållare för text 7"/>
          <p:cNvSpPr>
            <a:spLocks noGrp="1"/>
          </p:cNvSpPr>
          <p:nvPr>
            <p:ph type="body" sz="quarter" idx="13" hasCustomPrompt="1"/>
          </p:nvPr>
        </p:nvSpPr>
        <p:spPr>
          <a:xfrm>
            <a:off x="478367" y="480483"/>
            <a:ext cx="11235267" cy="432868"/>
          </a:xfrm>
        </p:spPr>
        <p:txBody>
          <a:bodyPr>
            <a:noAutofit/>
          </a:bodyPr>
          <a:lstStyle>
            <a:lvl1pPr>
              <a:defRPr sz="2400" i="1" baseline="0"/>
            </a:lvl1pPr>
          </a:lstStyle>
          <a:p>
            <a:pPr lvl="0"/>
            <a:r>
              <a:rPr lang="sv-SE"/>
              <a:t>Lägg till underrubrik</a:t>
            </a:r>
          </a:p>
        </p:txBody>
      </p:sp>
      <p:sp>
        <p:nvSpPr>
          <p:cNvPr id="6" name="Platshållare för datum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A8A4158-425E-4B18-B666-D93D0BA4D938}" type="datetime1">
              <a:rPr lang="sv-SE" smtClean="0"/>
              <a:t>2023-12-11</a:t>
            </a:fld>
            <a:endParaRPr lang="sv-SE"/>
          </a:p>
        </p:txBody>
      </p:sp>
      <p:sp>
        <p:nvSpPr>
          <p:cNvPr id="7" name="Platshållare för sidfot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sv-SE"/>
              <a:t>Sidfotstext (ändras under Meny Infoga och knappen Sidhuvud/Sidfot)</a:t>
            </a:r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Platshållare för innehåll 8">
            <a:extLst>
              <a:ext uri="{FF2B5EF4-FFF2-40B4-BE49-F238E27FC236}">
                <a16:creationId xmlns:a16="http://schemas.microsoft.com/office/drawing/2014/main" id="{73C66600-DFFE-4510-B0FB-111C5D903B49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8367" y="1776000"/>
            <a:ext cx="11235267" cy="4184533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78297752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innehåll, faktaru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tshållare för text 5"/>
          <p:cNvSpPr>
            <a:spLocks noGrp="1"/>
          </p:cNvSpPr>
          <p:nvPr>
            <p:ph type="body" sz="quarter" idx="37" hasCustomPrompt="1"/>
          </p:nvPr>
        </p:nvSpPr>
        <p:spPr>
          <a:xfrm>
            <a:off x="7924801" y="480001"/>
            <a:ext cx="3769443" cy="696081"/>
          </a:xfrm>
          <a:ln w="31750">
            <a:solidFill>
              <a:schemeClr val="accent1"/>
            </a:solidFill>
            <a:miter lim="800000"/>
          </a:ln>
        </p:spPr>
        <p:txBody>
          <a:bodyPr lIns="144000" tIns="36000" anchor="ctr">
            <a:normAutofit/>
          </a:bodyPr>
          <a:lstStyle>
            <a:lvl1pPr>
              <a:lnSpc>
                <a:spcPct val="90000"/>
              </a:lnSpc>
              <a:defRPr sz="2000" b="1" spc="0" baseline="0">
                <a:latin typeface="+mn-lt"/>
              </a:defRPr>
            </a:lvl1pPr>
          </a:lstStyle>
          <a:p>
            <a:pPr lvl="0"/>
            <a:r>
              <a:rPr lang="sv-SE"/>
              <a:t>Lägg till rubrik</a:t>
            </a:r>
          </a:p>
        </p:txBody>
      </p:sp>
      <p:sp>
        <p:nvSpPr>
          <p:cNvPr id="42" name="Platshållare för text 40"/>
          <p:cNvSpPr>
            <a:spLocks noGrp="1"/>
          </p:cNvSpPr>
          <p:nvPr>
            <p:ph type="body" sz="quarter" idx="36" hasCustomPrompt="1"/>
          </p:nvPr>
        </p:nvSpPr>
        <p:spPr>
          <a:xfrm>
            <a:off x="7924800" y="1176081"/>
            <a:ext cx="3768000" cy="4763285"/>
          </a:xfrm>
          <a:ln w="31750">
            <a:solidFill>
              <a:schemeClr val="accent1"/>
            </a:solidFill>
            <a:miter lim="800000"/>
          </a:ln>
        </p:spPr>
        <p:txBody>
          <a:bodyPr lIns="144000" tIns="108000" rIns="108000" anchor="t">
            <a:noAutofit/>
          </a:bodyPr>
          <a:lstStyle>
            <a:lvl1pPr marL="191995" marR="0" indent="-191995" algn="l" defTabSz="609585" rtl="0" eaLnBrk="1" fontAlgn="auto" latinLnBrk="0" hangingPunct="1">
              <a:lnSpc>
                <a:spcPct val="95000"/>
              </a:lnSpc>
              <a:spcBef>
                <a:spcPts val="533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867" b="0" baseline="0"/>
            </a:lvl1pPr>
          </a:lstStyle>
          <a:p>
            <a:pPr lvl="0"/>
            <a:r>
              <a:rPr lang="sv-SE"/>
              <a:t>Skriv in punktlista (om du istället vill ha löpande text kan du klicka bort listläget i menyn.</a:t>
            </a:r>
          </a:p>
        </p:txBody>
      </p:sp>
      <p:sp>
        <p:nvSpPr>
          <p:cNvPr id="2" name="Platshållare för datum 1"/>
          <p:cNvSpPr>
            <a:spLocks noGrp="1"/>
          </p:cNvSpPr>
          <p:nvPr>
            <p:ph type="dt" sz="half" idx="38"/>
          </p:nvPr>
        </p:nvSpPr>
        <p:spPr/>
        <p:txBody>
          <a:bodyPr/>
          <a:lstStyle/>
          <a:p>
            <a:fld id="{06F619FA-4AE5-40FE-A600-8979716CE8BA}" type="datetime1">
              <a:rPr lang="sv-SE" smtClean="0"/>
              <a:t>2023-12-11</a:t>
            </a:fld>
            <a:endParaRPr lang="sv-SE"/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r>
              <a:rPr lang="sv-SE"/>
              <a:t>Sidfotstext (ändras under Meny Infoga och knappen Sidhuvud/Sidfot)</a:t>
            </a:r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Rubrik 1">
            <a:extLst>
              <a:ext uri="{FF2B5EF4-FFF2-40B4-BE49-F238E27FC236}">
                <a16:creationId xmlns:a16="http://schemas.microsoft.com/office/drawing/2014/main" id="{D902A238-18A8-4BDF-979A-E951C0821E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67" y="478365"/>
            <a:ext cx="6945600" cy="768000"/>
          </a:xfrm>
        </p:spPr>
        <p:txBody>
          <a:bodyPr/>
          <a:lstStyle>
            <a:lvl1pPr>
              <a:defRPr/>
            </a:lvl1pPr>
          </a:lstStyle>
          <a:p>
            <a:r>
              <a:rPr lang="sv-SE"/>
              <a:t>Lägg till rubrik</a:t>
            </a:r>
          </a:p>
        </p:txBody>
      </p:sp>
      <p:sp>
        <p:nvSpPr>
          <p:cNvPr id="12" name="Platshållare för innehåll 11">
            <a:extLst>
              <a:ext uri="{FF2B5EF4-FFF2-40B4-BE49-F238E27FC236}">
                <a16:creationId xmlns:a16="http://schemas.microsoft.com/office/drawing/2014/main" id="{E66A6F27-B334-4257-9662-90B3EA9133B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78367" y="1350434"/>
            <a:ext cx="6945600" cy="46101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sv-SE"/>
              <a:t>Klicka här för att ändra text.</a:t>
            </a:r>
          </a:p>
        </p:txBody>
      </p:sp>
    </p:spTree>
    <p:extLst>
      <p:ext uri="{BB962C8B-B14F-4D97-AF65-F5344CB8AC3E}">
        <p14:creationId xmlns:p14="http://schemas.microsoft.com/office/powerpoint/2010/main" val="84878282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innehåll, faktaruta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Platshållare för text 40"/>
          <p:cNvSpPr>
            <a:spLocks noGrp="1"/>
          </p:cNvSpPr>
          <p:nvPr>
            <p:ph type="body" sz="quarter" idx="36" hasCustomPrompt="1"/>
          </p:nvPr>
        </p:nvSpPr>
        <p:spPr>
          <a:xfrm>
            <a:off x="7903633" y="1732800"/>
            <a:ext cx="3810001" cy="4227733"/>
          </a:xfrm>
          <a:solidFill>
            <a:schemeClr val="accent5">
              <a:alpha val="50000"/>
            </a:schemeClr>
          </a:solidFill>
          <a:ln w="31750">
            <a:noFill/>
            <a:miter lim="800000"/>
          </a:ln>
        </p:spPr>
        <p:txBody>
          <a:bodyPr lIns="144000" tIns="144000" rIns="108000" anchor="t">
            <a:noAutofit/>
          </a:bodyPr>
          <a:lstStyle>
            <a:lvl1pPr marL="191995" marR="0" indent="-191995" algn="l" defTabSz="609585" rtl="0" eaLnBrk="1" fontAlgn="auto" latinLnBrk="0" hangingPunct="1">
              <a:lnSpc>
                <a:spcPct val="95000"/>
              </a:lnSpc>
              <a:spcBef>
                <a:spcPts val="533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867" b="0" baseline="0"/>
            </a:lvl1pPr>
          </a:lstStyle>
          <a:p>
            <a:pPr lvl="0"/>
            <a:r>
              <a:rPr lang="sv-SE"/>
              <a:t>Skriv in punktlista (om du istället vill ha löpande text kan du klicka bort listläget i menyn.</a:t>
            </a:r>
          </a:p>
        </p:txBody>
      </p:sp>
      <p:sp>
        <p:nvSpPr>
          <p:cNvPr id="2" name="Platshållare för datum 1"/>
          <p:cNvSpPr>
            <a:spLocks noGrp="1"/>
          </p:cNvSpPr>
          <p:nvPr>
            <p:ph type="dt" sz="half" idx="38"/>
          </p:nvPr>
        </p:nvSpPr>
        <p:spPr/>
        <p:txBody>
          <a:bodyPr/>
          <a:lstStyle/>
          <a:p>
            <a:fld id="{47335813-7B0C-46E0-97F1-BD65B1A10613}" type="datetime1">
              <a:rPr lang="sv-SE" smtClean="0"/>
              <a:t>2023-12-11</a:t>
            </a:fld>
            <a:endParaRPr lang="sv-SE"/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r>
              <a:rPr lang="sv-SE"/>
              <a:t>Sidfotstext (ändras under Meny Infoga och knappen Sidhuvud/Sidfot)</a:t>
            </a:r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Rubrik 1">
            <a:extLst>
              <a:ext uri="{FF2B5EF4-FFF2-40B4-BE49-F238E27FC236}">
                <a16:creationId xmlns:a16="http://schemas.microsoft.com/office/drawing/2014/main" id="{D902A238-18A8-4BDF-979A-E951C0821E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67" y="478365"/>
            <a:ext cx="11235267" cy="768000"/>
          </a:xfrm>
        </p:spPr>
        <p:txBody>
          <a:bodyPr/>
          <a:lstStyle>
            <a:lvl1pPr>
              <a:defRPr/>
            </a:lvl1pPr>
          </a:lstStyle>
          <a:p>
            <a:r>
              <a:rPr lang="sv-SE"/>
              <a:t>Lägg till rubrik</a:t>
            </a:r>
          </a:p>
        </p:txBody>
      </p:sp>
      <p:sp>
        <p:nvSpPr>
          <p:cNvPr id="12" name="Platshållare för innehåll 11">
            <a:extLst>
              <a:ext uri="{FF2B5EF4-FFF2-40B4-BE49-F238E27FC236}">
                <a16:creationId xmlns:a16="http://schemas.microsoft.com/office/drawing/2014/main" id="{E66A6F27-B334-4257-9662-90B3EA9133B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78367" y="1350434"/>
            <a:ext cx="6945600" cy="46101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sv-SE"/>
              <a:t>Klicka här för att ändra text.</a:t>
            </a:r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D0641035-7216-48C7-A5DC-A9AD52FFC4DD}"/>
              </a:ext>
            </a:extLst>
          </p:cNvPr>
          <p:cNvSpPr>
            <a:spLocks noGrp="1" noChangeAspect="1"/>
          </p:cNvSpPr>
          <p:nvPr>
            <p:ph type="body" sz="quarter" idx="41" hasCustomPrompt="1"/>
          </p:nvPr>
        </p:nvSpPr>
        <p:spPr>
          <a:xfrm rot="2700000">
            <a:off x="8231999" y="1636799"/>
            <a:ext cx="192000" cy="192000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sv-SE"/>
              <a:t> </a:t>
            </a:r>
          </a:p>
        </p:txBody>
      </p:sp>
      <p:sp>
        <p:nvSpPr>
          <p:cNvPr id="6" name="Platshållare för text 5"/>
          <p:cNvSpPr>
            <a:spLocks noGrp="1"/>
          </p:cNvSpPr>
          <p:nvPr>
            <p:ph type="body" sz="quarter" idx="37" hasCustomPrompt="1"/>
          </p:nvPr>
        </p:nvSpPr>
        <p:spPr>
          <a:xfrm>
            <a:off x="7903633" y="1350433"/>
            <a:ext cx="3810001" cy="432000"/>
          </a:xfrm>
          <a:ln w="31750">
            <a:noFill/>
            <a:miter lim="800000"/>
          </a:ln>
        </p:spPr>
        <p:txBody>
          <a:bodyPr lIns="0" tIns="0" anchor="t" anchorCtr="0">
            <a:normAutofit/>
          </a:bodyPr>
          <a:lstStyle>
            <a:lvl1pPr>
              <a:defRPr sz="2000" b="1" spc="0" baseline="0">
                <a:latin typeface="+mn-lt"/>
              </a:defRPr>
            </a:lvl1pPr>
          </a:lstStyle>
          <a:p>
            <a:pPr lvl="0"/>
            <a:r>
              <a:rPr lang="sv-SE"/>
              <a:t>Lägg till rubrik</a:t>
            </a:r>
          </a:p>
        </p:txBody>
      </p:sp>
    </p:spTree>
    <p:extLst>
      <p:ext uri="{BB962C8B-B14F-4D97-AF65-F5344CB8AC3E}">
        <p14:creationId xmlns:p14="http://schemas.microsoft.com/office/powerpoint/2010/main" val="178501849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innehåll, bild 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900C1F19-0230-4009-A2C4-1657CBA590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67" y="478365"/>
            <a:ext cx="5136000" cy="768000"/>
          </a:xfrm>
        </p:spPr>
        <p:txBody>
          <a:bodyPr/>
          <a:lstStyle>
            <a:lvl1pPr>
              <a:defRPr/>
            </a:lvl1pPr>
          </a:lstStyle>
          <a:p>
            <a:r>
              <a:rPr lang="sv-SE"/>
              <a:t>Lägg till rubrik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9E637FDA-3FFB-4E88-A376-F7B3E1E2BE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C7462F-D24C-4888-ADC5-5159F3FF9270}" type="datetime1">
              <a:rPr lang="sv-SE" smtClean="0"/>
              <a:t>2023-12-11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4A467239-01FE-4FEE-A714-2A2CD7A89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idfotstext (ändras under Meny Infoga och knappen Sidhuvud/Sidfot)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28A22486-B0D4-402D-845D-1B6C1107B5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Platshållare för bild 8">
            <a:extLst>
              <a:ext uri="{FF2B5EF4-FFF2-40B4-BE49-F238E27FC236}">
                <a16:creationId xmlns:a16="http://schemas.microsoft.com/office/drawing/2014/main" id="{CFAA4906-5E49-4FD8-8F8B-E505A25B2F0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1" y="478365"/>
            <a:ext cx="5617633" cy="5482168"/>
          </a:xfrm>
          <a:solidFill>
            <a:schemeClr val="accent5"/>
          </a:solidFill>
        </p:spPr>
        <p:txBody>
          <a:bodyPr tIns="72000" anchor="t" anchorCtr="0">
            <a:normAutofit/>
          </a:bodyPr>
          <a:lstStyle>
            <a:lvl1pPr algn="ctr">
              <a:defRPr sz="1333" baseline="0"/>
            </a:lvl1pPr>
          </a:lstStyle>
          <a:p>
            <a:r>
              <a:rPr lang="sv-SE"/>
              <a:t>Klicka här och infoga bild via knappen Bild i menyflik Infoga</a:t>
            </a:r>
          </a:p>
        </p:txBody>
      </p:sp>
      <p:sp>
        <p:nvSpPr>
          <p:cNvPr id="12" name="Platshållare för innehåll 11">
            <a:extLst>
              <a:ext uri="{FF2B5EF4-FFF2-40B4-BE49-F238E27FC236}">
                <a16:creationId xmlns:a16="http://schemas.microsoft.com/office/drawing/2014/main" id="{5CBB588F-A7D3-4A09-A632-4B802091E83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78367" y="1350434"/>
            <a:ext cx="5136000" cy="46101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sv-SE"/>
              <a:t>Klicka här för att ändra text.</a:t>
            </a:r>
          </a:p>
        </p:txBody>
      </p:sp>
    </p:spTree>
    <p:extLst>
      <p:ext uri="{BB962C8B-B14F-4D97-AF65-F5344CB8AC3E}">
        <p14:creationId xmlns:p14="http://schemas.microsoft.com/office/powerpoint/2010/main" val="302031196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innehåll, bild 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8">
            <a:extLst>
              <a:ext uri="{FF2B5EF4-FFF2-40B4-BE49-F238E27FC236}">
                <a16:creationId xmlns:a16="http://schemas.microsoft.com/office/drawing/2014/main" id="{CFAA4906-5E49-4FD8-8F8B-E505A25B2F0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8368" y="478365"/>
            <a:ext cx="5617633" cy="5482168"/>
          </a:xfrm>
          <a:solidFill>
            <a:schemeClr val="accent5"/>
          </a:solidFill>
        </p:spPr>
        <p:txBody>
          <a:bodyPr tIns="72000" anchor="t" anchorCtr="0">
            <a:normAutofit/>
          </a:bodyPr>
          <a:lstStyle>
            <a:lvl1pPr algn="ctr">
              <a:defRPr sz="1333" baseline="0"/>
            </a:lvl1pPr>
          </a:lstStyle>
          <a:p>
            <a:r>
              <a:rPr lang="sv-SE"/>
              <a:t>Klicka här och infoga bild via knappen Bild i menyflik Infoga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900C1F19-0230-4009-A2C4-1657CBA590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77633" y="478365"/>
            <a:ext cx="5136000" cy="768000"/>
          </a:xfrm>
        </p:spPr>
        <p:txBody>
          <a:bodyPr/>
          <a:lstStyle>
            <a:lvl1pPr>
              <a:defRPr/>
            </a:lvl1pPr>
          </a:lstStyle>
          <a:p>
            <a:r>
              <a:rPr lang="sv-SE"/>
              <a:t>Lägg till rubrik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9E637FDA-3FFB-4E88-A376-F7B3E1E2BE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DA4CB6-E412-4F18-8992-1C38CAD4FB91}" type="datetime1">
              <a:rPr lang="sv-SE" smtClean="0"/>
              <a:t>2023-12-11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4A467239-01FE-4FEE-A714-2A2CD7A89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idfotstext (ändras under Meny Infoga och knappen Sidhuvud/Sidfot)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28A22486-B0D4-402D-845D-1B6C1107B5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innehåll 11">
            <a:extLst>
              <a:ext uri="{FF2B5EF4-FFF2-40B4-BE49-F238E27FC236}">
                <a16:creationId xmlns:a16="http://schemas.microsoft.com/office/drawing/2014/main" id="{5CBB588F-A7D3-4A09-A632-4B802091E83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577633" y="1350434"/>
            <a:ext cx="5136000" cy="46101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sv-SE"/>
              <a:t>Klicka här för att ändra text.</a:t>
            </a:r>
          </a:p>
        </p:txBody>
      </p:sp>
    </p:spTree>
    <p:extLst>
      <p:ext uri="{BB962C8B-B14F-4D97-AF65-F5344CB8AC3E}">
        <p14:creationId xmlns:p14="http://schemas.microsoft.com/office/powerpoint/2010/main" val="377361267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innehåll, not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v-SE"/>
              <a:t>Lägg till rubrik</a:t>
            </a:r>
          </a:p>
        </p:txBody>
      </p:sp>
      <p:grpSp>
        <p:nvGrpSpPr>
          <p:cNvPr id="7" name="Grupp 6"/>
          <p:cNvGrpSpPr/>
          <p:nvPr userDrawn="1"/>
        </p:nvGrpSpPr>
        <p:grpSpPr>
          <a:xfrm flipH="1">
            <a:off x="7940985" y="1448061"/>
            <a:ext cx="3754161" cy="2750872"/>
            <a:chOff x="2412000" y="1095795"/>
            <a:chExt cx="4321659" cy="3171405"/>
          </a:xfrm>
        </p:grpSpPr>
        <p:sp>
          <p:nvSpPr>
            <p:cNvPr id="8" name="Frihandsfigur 7"/>
            <p:cNvSpPr/>
            <p:nvPr/>
          </p:nvSpPr>
          <p:spPr>
            <a:xfrm rot="10800000">
              <a:off x="2412000" y="1114424"/>
              <a:ext cx="4320000" cy="3152776"/>
            </a:xfrm>
            <a:custGeom>
              <a:avLst/>
              <a:gdLst>
                <a:gd name="connsiteX0" fmla="*/ 3011900 w 4320000"/>
                <a:gd name="connsiteY0" fmla="*/ 3152776 h 3152776"/>
                <a:gd name="connsiteX1" fmla="*/ 1308100 w 4320000"/>
                <a:gd name="connsiteY1" fmla="*/ 3152776 h 3152776"/>
                <a:gd name="connsiteX2" fmla="*/ 0 w 4320000"/>
                <a:gd name="connsiteY2" fmla="*/ 1844676 h 3152776"/>
                <a:gd name="connsiteX3" fmla="*/ 1308100 w 4320000"/>
                <a:gd name="connsiteY3" fmla="*/ 536576 h 3152776"/>
                <a:gd name="connsiteX4" fmla="*/ 1769475 w 4320000"/>
                <a:gd name="connsiteY4" fmla="*/ 536576 h 3152776"/>
                <a:gd name="connsiteX5" fmla="*/ 1769475 w 4320000"/>
                <a:gd name="connsiteY5" fmla="*/ 0 h 3152776"/>
                <a:gd name="connsiteX6" fmla="*/ 2429228 w 4320000"/>
                <a:gd name="connsiteY6" fmla="*/ 536576 h 3152776"/>
                <a:gd name="connsiteX7" fmla="*/ 3011900 w 4320000"/>
                <a:gd name="connsiteY7" fmla="*/ 536576 h 3152776"/>
                <a:gd name="connsiteX8" fmla="*/ 4320000 w 4320000"/>
                <a:gd name="connsiteY8" fmla="*/ 1844676 h 3152776"/>
                <a:gd name="connsiteX9" fmla="*/ 3011900 w 4320000"/>
                <a:gd name="connsiteY9" fmla="*/ 3152776 h 3152776"/>
                <a:gd name="connsiteX0" fmla="*/ 1769475 w 4320000"/>
                <a:gd name="connsiteY0" fmla="*/ 536576 h 3152776"/>
                <a:gd name="connsiteX1" fmla="*/ 1769475 w 4320000"/>
                <a:gd name="connsiteY1" fmla="*/ 0 h 3152776"/>
                <a:gd name="connsiteX2" fmla="*/ 2429228 w 4320000"/>
                <a:gd name="connsiteY2" fmla="*/ 536576 h 3152776"/>
                <a:gd name="connsiteX3" fmla="*/ 3011900 w 4320000"/>
                <a:gd name="connsiteY3" fmla="*/ 536576 h 3152776"/>
                <a:gd name="connsiteX4" fmla="*/ 4320000 w 4320000"/>
                <a:gd name="connsiteY4" fmla="*/ 1844676 h 3152776"/>
                <a:gd name="connsiteX5" fmla="*/ 3011900 w 4320000"/>
                <a:gd name="connsiteY5" fmla="*/ 3152776 h 3152776"/>
                <a:gd name="connsiteX6" fmla="*/ 1308100 w 4320000"/>
                <a:gd name="connsiteY6" fmla="*/ 3152776 h 3152776"/>
                <a:gd name="connsiteX7" fmla="*/ 0 w 4320000"/>
                <a:gd name="connsiteY7" fmla="*/ 1844676 h 3152776"/>
                <a:gd name="connsiteX8" fmla="*/ 1308100 w 4320000"/>
                <a:gd name="connsiteY8" fmla="*/ 536576 h 3152776"/>
                <a:gd name="connsiteX9" fmla="*/ 1860915 w 4320000"/>
                <a:gd name="connsiteY9" fmla="*/ 628016 h 3152776"/>
                <a:gd name="connsiteX0" fmla="*/ 1769475 w 4320000"/>
                <a:gd name="connsiteY0" fmla="*/ 536576 h 3152776"/>
                <a:gd name="connsiteX1" fmla="*/ 1769475 w 4320000"/>
                <a:gd name="connsiteY1" fmla="*/ 0 h 3152776"/>
                <a:gd name="connsiteX2" fmla="*/ 2429228 w 4320000"/>
                <a:gd name="connsiteY2" fmla="*/ 536576 h 3152776"/>
                <a:gd name="connsiteX3" fmla="*/ 3011900 w 4320000"/>
                <a:gd name="connsiteY3" fmla="*/ 536576 h 3152776"/>
                <a:gd name="connsiteX4" fmla="*/ 4320000 w 4320000"/>
                <a:gd name="connsiteY4" fmla="*/ 1844676 h 3152776"/>
                <a:gd name="connsiteX5" fmla="*/ 3011900 w 4320000"/>
                <a:gd name="connsiteY5" fmla="*/ 3152776 h 3152776"/>
                <a:gd name="connsiteX6" fmla="*/ 1308100 w 4320000"/>
                <a:gd name="connsiteY6" fmla="*/ 3152776 h 3152776"/>
                <a:gd name="connsiteX7" fmla="*/ 0 w 4320000"/>
                <a:gd name="connsiteY7" fmla="*/ 1844676 h 3152776"/>
                <a:gd name="connsiteX8" fmla="*/ 1308100 w 4320000"/>
                <a:gd name="connsiteY8" fmla="*/ 536576 h 3152776"/>
                <a:gd name="connsiteX9" fmla="*/ 1594215 w 4320000"/>
                <a:gd name="connsiteY9" fmla="*/ 532766 h 3152776"/>
                <a:gd name="connsiteX0" fmla="*/ 1769475 w 4320000"/>
                <a:gd name="connsiteY0" fmla="*/ 536576 h 3152776"/>
                <a:gd name="connsiteX1" fmla="*/ 1769475 w 4320000"/>
                <a:gd name="connsiteY1" fmla="*/ 0 h 3152776"/>
                <a:gd name="connsiteX2" fmla="*/ 2429228 w 4320000"/>
                <a:gd name="connsiteY2" fmla="*/ 536576 h 3152776"/>
                <a:gd name="connsiteX3" fmla="*/ 3011900 w 4320000"/>
                <a:gd name="connsiteY3" fmla="*/ 536576 h 3152776"/>
                <a:gd name="connsiteX4" fmla="*/ 4320000 w 4320000"/>
                <a:gd name="connsiteY4" fmla="*/ 1844676 h 3152776"/>
                <a:gd name="connsiteX5" fmla="*/ 3011900 w 4320000"/>
                <a:gd name="connsiteY5" fmla="*/ 3152776 h 3152776"/>
                <a:gd name="connsiteX6" fmla="*/ 1308100 w 4320000"/>
                <a:gd name="connsiteY6" fmla="*/ 3152776 h 3152776"/>
                <a:gd name="connsiteX7" fmla="*/ 0 w 4320000"/>
                <a:gd name="connsiteY7" fmla="*/ 1844676 h 3152776"/>
                <a:gd name="connsiteX8" fmla="*/ 1308100 w 4320000"/>
                <a:gd name="connsiteY8" fmla="*/ 536576 h 3152776"/>
                <a:gd name="connsiteX9" fmla="*/ 1575165 w 4320000"/>
                <a:gd name="connsiteY9" fmla="*/ 539116 h 3152776"/>
                <a:gd name="connsiteX0" fmla="*/ 1769475 w 4320000"/>
                <a:gd name="connsiteY0" fmla="*/ 536576 h 3152776"/>
                <a:gd name="connsiteX1" fmla="*/ 1769475 w 4320000"/>
                <a:gd name="connsiteY1" fmla="*/ 0 h 3152776"/>
                <a:gd name="connsiteX2" fmla="*/ 2429228 w 4320000"/>
                <a:gd name="connsiteY2" fmla="*/ 536576 h 3152776"/>
                <a:gd name="connsiteX3" fmla="*/ 3011900 w 4320000"/>
                <a:gd name="connsiteY3" fmla="*/ 536576 h 3152776"/>
                <a:gd name="connsiteX4" fmla="*/ 4320000 w 4320000"/>
                <a:gd name="connsiteY4" fmla="*/ 1844676 h 3152776"/>
                <a:gd name="connsiteX5" fmla="*/ 3011900 w 4320000"/>
                <a:gd name="connsiteY5" fmla="*/ 3152776 h 3152776"/>
                <a:gd name="connsiteX6" fmla="*/ 1308100 w 4320000"/>
                <a:gd name="connsiteY6" fmla="*/ 3152776 h 3152776"/>
                <a:gd name="connsiteX7" fmla="*/ 0 w 4320000"/>
                <a:gd name="connsiteY7" fmla="*/ 1844676 h 3152776"/>
                <a:gd name="connsiteX8" fmla="*/ 1308100 w 4320000"/>
                <a:gd name="connsiteY8" fmla="*/ 536576 h 3152776"/>
                <a:gd name="connsiteX9" fmla="*/ 1575165 w 4320000"/>
                <a:gd name="connsiteY9" fmla="*/ 535941 h 3152776"/>
                <a:gd name="connsiteX0" fmla="*/ 1769475 w 4320000"/>
                <a:gd name="connsiteY0" fmla="*/ 577851 h 3152776"/>
                <a:gd name="connsiteX1" fmla="*/ 1769475 w 4320000"/>
                <a:gd name="connsiteY1" fmla="*/ 0 h 3152776"/>
                <a:gd name="connsiteX2" fmla="*/ 2429228 w 4320000"/>
                <a:gd name="connsiteY2" fmla="*/ 536576 h 3152776"/>
                <a:gd name="connsiteX3" fmla="*/ 3011900 w 4320000"/>
                <a:gd name="connsiteY3" fmla="*/ 536576 h 3152776"/>
                <a:gd name="connsiteX4" fmla="*/ 4320000 w 4320000"/>
                <a:gd name="connsiteY4" fmla="*/ 1844676 h 3152776"/>
                <a:gd name="connsiteX5" fmla="*/ 3011900 w 4320000"/>
                <a:gd name="connsiteY5" fmla="*/ 3152776 h 3152776"/>
                <a:gd name="connsiteX6" fmla="*/ 1308100 w 4320000"/>
                <a:gd name="connsiteY6" fmla="*/ 3152776 h 3152776"/>
                <a:gd name="connsiteX7" fmla="*/ 0 w 4320000"/>
                <a:gd name="connsiteY7" fmla="*/ 1844676 h 3152776"/>
                <a:gd name="connsiteX8" fmla="*/ 1308100 w 4320000"/>
                <a:gd name="connsiteY8" fmla="*/ 536576 h 3152776"/>
                <a:gd name="connsiteX9" fmla="*/ 1575165 w 4320000"/>
                <a:gd name="connsiteY9" fmla="*/ 535941 h 3152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20000" h="3152776">
                  <a:moveTo>
                    <a:pt x="1769475" y="577851"/>
                  </a:moveTo>
                  <a:lnTo>
                    <a:pt x="1769475" y="0"/>
                  </a:lnTo>
                  <a:lnTo>
                    <a:pt x="2429228" y="536576"/>
                  </a:lnTo>
                  <a:lnTo>
                    <a:pt x="3011900" y="536576"/>
                  </a:lnTo>
                  <a:cubicBezTo>
                    <a:pt x="3734344" y="536576"/>
                    <a:pt x="4320000" y="1122232"/>
                    <a:pt x="4320000" y="1844676"/>
                  </a:cubicBezTo>
                  <a:cubicBezTo>
                    <a:pt x="4320000" y="2567120"/>
                    <a:pt x="3734344" y="3152776"/>
                    <a:pt x="3011900" y="3152776"/>
                  </a:cubicBezTo>
                  <a:lnTo>
                    <a:pt x="1308100" y="3152776"/>
                  </a:lnTo>
                  <a:cubicBezTo>
                    <a:pt x="585656" y="3152776"/>
                    <a:pt x="0" y="2567120"/>
                    <a:pt x="0" y="1844676"/>
                  </a:cubicBezTo>
                  <a:cubicBezTo>
                    <a:pt x="0" y="1122232"/>
                    <a:pt x="585656" y="536576"/>
                    <a:pt x="1308100" y="536576"/>
                  </a:cubicBezTo>
                  <a:lnTo>
                    <a:pt x="1575165" y="535941"/>
                  </a:lnTo>
                </a:path>
              </a:pathLst>
            </a:custGeom>
            <a:noFill/>
            <a:ln w="44450">
              <a:solidFill>
                <a:schemeClr val="accent1"/>
              </a:solidFill>
              <a:miter lim="800000"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2400"/>
            </a:p>
          </p:txBody>
        </p:sp>
        <p:sp>
          <p:nvSpPr>
            <p:cNvPr id="9" name="Båge 13"/>
            <p:cNvSpPr/>
            <p:nvPr/>
          </p:nvSpPr>
          <p:spPr>
            <a:xfrm rot="1153800">
              <a:off x="5776949" y="1095795"/>
              <a:ext cx="956710" cy="704275"/>
            </a:xfrm>
            <a:custGeom>
              <a:avLst/>
              <a:gdLst>
                <a:gd name="connsiteX0" fmla="*/ 1212208 w 2424415"/>
                <a:gd name="connsiteY0" fmla="*/ 0 h 1398446"/>
                <a:gd name="connsiteX1" fmla="*/ 2166825 w 2424415"/>
                <a:gd name="connsiteY1" fmla="*/ 268284 h 1398446"/>
                <a:gd name="connsiteX2" fmla="*/ 1212208 w 2424415"/>
                <a:gd name="connsiteY2" fmla="*/ 699223 h 1398446"/>
                <a:gd name="connsiteX3" fmla="*/ 1212208 w 2424415"/>
                <a:gd name="connsiteY3" fmla="*/ 0 h 1398446"/>
                <a:gd name="connsiteX0" fmla="*/ 1212208 w 2424415"/>
                <a:gd name="connsiteY0" fmla="*/ 0 h 1398446"/>
                <a:gd name="connsiteX1" fmla="*/ 2166825 w 2424415"/>
                <a:gd name="connsiteY1" fmla="*/ 268284 h 1398446"/>
                <a:gd name="connsiteX0" fmla="*/ 0 w 954617"/>
                <a:gd name="connsiteY0" fmla="*/ 1354 h 700577"/>
                <a:gd name="connsiteX1" fmla="*/ 954617 w 954617"/>
                <a:gd name="connsiteY1" fmla="*/ 269638 h 700577"/>
                <a:gd name="connsiteX2" fmla="*/ 0 w 954617"/>
                <a:gd name="connsiteY2" fmla="*/ 700577 h 700577"/>
                <a:gd name="connsiteX3" fmla="*/ 0 w 954617"/>
                <a:gd name="connsiteY3" fmla="*/ 1354 h 700577"/>
                <a:gd name="connsiteX0" fmla="*/ 0 w 954617"/>
                <a:gd name="connsiteY0" fmla="*/ 1354 h 700577"/>
                <a:gd name="connsiteX1" fmla="*/ 954617 w 954617"/>
                <a:gd name="connsiteY1" fmla="*/ 269638 h 700577"/>
                <a:gd name="connsiteX0" fmla="*/ 0 w 954617"/>
                <a:gd name="connsiteY0" fmla="*/ 2520 h 701743"/>
                <a:gd name="connsiteX1" fmla="*/ 954617 w 954617"/>
                <a:gd name="connsiteY1" fmla="*/ 270804 h 701743"/>
                <a:gd name="connsiteX2" fmla="*/ 0 w 954617"/>
                <a:gd name="connsiteY2" fmla="*/ 701743 h 701743"/>
                <a:gd name="connsiteX3" fmla="*/ 0 w 954617"/>
                <a:gd name="connsiteY3" fmla="*/ 2520 h 701743"/>
                <a:gd name="connsiteX0" fmla="*/ 0 w 954617"/>
                <a:gd name="connsiteY0" fmla="*/ 2520 h 701743"/>
                <a:gd name="connsiteX1" fmla="*/ 954617 w 954617"/>
                <a:gd name="connsiteY1" fmla="*/ 270804 h 701743"/>
                <a:gd name="connsiteX0" fmla="*/ 0 w 954617"/>
                <a:gd name="connsiteY0" fmla="*/ 2674 h 701897"/>
                <a:gd name="connsiteX1" fmla="*/ 954617 w 954617"/>
                <a:gd name="connsiteY1" fmla="*/ 270958 h 701897"/>
                <a:gd name="connsiteX2" fmla="*/ 0 w 954617"/>
                <a:gd name="connsiteY2" fmla="*/ 701897 h 701897"/>
                <a:gd name="connsiteX3" fmla="*/ 0 w 954617"/>
                <a:gd name="connsiteY3" fmla="*/ 2674 h 701897"/>
                <a:gd name="connsiteX0" fmla="*/ 0 w 954617"/>
                <a:gd name="connsiteY0" fmla="*/ 2674 h 701897"/>
                <a:gd name="connsiteX1" fmla="*/ 954617 w 954617"/>
                <a:gd name="connsiteY1" fmla="*/ 270958 h 701897"/>
                <a:gd name="connsiteX0" fmla="*/ 0 w 954617"/>
                <a:gd name="connsiteY0" fmla="*/ 2848 h 702071"/>
                <a:gd name="connsiteX1" fmla="*/ 954617 w 954617"/>
                <a:gd name="connsiteY1" fmla="*/ 271132 h 702071"/>
                <a:gd name="connsiteX2" fmla="*/ 0 w 954617"/>
                <a:gd name="connsiteY2" fmla="*/ 702071 h 702071"/>
                <a:gd name="connsiteX3" fmla="*/ 0 w 954617"/>
                <a:gd name="connsiteY3" fmla="*/ 2848 h 702071"/>
                <a:gd name="connsiteX0" fmla="*/ 0 w 954617"/>
                <a:gd name="connsiteY0" fmla="*/ 2848 h 702071"/>
                <a:gd name="connsiteX1" fmla="*/ 954617 w 954617"/>
                <a:gd name="connsiteY1" fmla="*/ 271132 h 702071"/>
                <a:gd name="connsiteX0" fmla="*/ 0 w 954617"/>
                <a:gd name="connsiteY0" fmla="*/ 3088 h 702311"/>
                <a:gd name="connsiteX1" fmla="*/ 954617 w 954617"/>
                <a:gd name="connsiteY1" fmla="*/ 271372 h 702311"/>
                <a:gd name="connsiteX2" fmla="*/ 0 w 954617"/>
                <a:gd name="connsiteY2" fmla="*/ 702311 h 702311"/>
                <a:gd name="connsiteX3" fmla="*/ 0 w 954617"/>
                <a:gd name="connsiteY3" fmla="*/ 3088 h 702311"/>
                <a:gd name="connsiteX0" fmla="*/ 0 w 954617"/>
                <a:gd name="connsiteY0" fmla="*/ 3088 h 702311"/>
                <a:gd name="connsiteX1" fmla="*/ 954617 w 954617"/>
                <a:gd name="connsiteY1" fmla="*/ 271372 h 702311"/>
                <a:gd name="connsiteX0" fmla="*/ 0 w 954617"/>
                <a:gd name="connsiteY0" fmla="*/ 270 h 699493"/>
                <a:gd name="connsiteX1" fmla="*/ 954617 w 954617"/>
                <a:gd name="connsiteY1" fmla="*/ 268554 h 699493"/>
                <a:gd name="connsiteX2" fmla="*/ 0 w 954617"/>
                <a:gd name="connsiteY2" fmla="*/ 699493 h 699493"/>
                <a:gd name="connsiteX3" fmla="*/ 0 w 954617"/>
                <a:gd name="connsiteY3" fmla="*/ 270 h 699493"/>
                <a:gd name="connsiteX0" fmla="*/ 0 w 954617"/>
                <a:gd name="connsiteY0" fmla="*/ 270 h 699493"/>
                <a:gd name="connsiteX1" fmla="*/ 954617 w 954617"/>
                <a:gd name="connsiteY1" fmla="*/ 268554 h 699493"/>
                <a:gd name="connsiteX0" fmla="*/ 0 w 954617"/>
                <a:gd name="connsiteY0" fmla="*/ 291 h 699514"/>
                <a:gd name="connsiteX1" fmla="*/ 954617 w 954617"/>
                <a:gd name="connsiteY1" fmla="*/ 268575 h 699514"/>
                <a:gd name="connsiteX2" fmla="*/ 0 w 954617"/>
                <a:gd name="connsiteY2" fmla="*/ 699514 h 699514"/>
                <a:gd name="connsiteX3" fmla="*/ 0 w 954617"/>
                <a:gd name="connsiteY3" fmla="*/ 291 h 699514"/>
                <a:gd name="connsiteX0" fmla="*/ 0 w 954617"/>
                <a:gd name="connsiteY0" fmla="*/ 291 h 699514"/>
                <a:gd name="connsiteX1" fmla="*/ 954617 w 954617"/>
                <a:gd name="connsiteY1" fmla="*/ 268575 h 699514"/>
                <a:gd name="connsiteX0" fmla="*/ 0 w 954617"/>
                <a:gd name="connsiteY0" fmla="*/ 433 h 699656"/>
                <a:gd name="connsiteX1" fmla="*/ 954617 w 954617"/>
                <a:gd name="connsiteY1" fmla="*/ 268717 h 699656"/>
                <a:gd name="connsiteX2" fmla="*/ 0 w 954617"/>
                <a:gd name="connsiteY2" fmla="*/ 699656 h 699656"/>
                <a:gd name="connsiteX3" fmla="*/ 0 w 954617"/>
                <a:gd name="connsiteY3" fmla="*/ 433 h 699656"/>
                <a:gd name="connsiteX0" fmla="*/ 0 w 954617"/>
                <a:gd name="connsiteY0" fmla="*/ 433 h 699656"/>
                <a:gd name="connsiteX1" fmla="*/ 954617 w 954617"/>
                <a:gd name="connsiteY1" fmla="*/ 268717 h 699656"/>
                <a:gd name="connsiteX0" fmla="*/ 0 w 954617"/>
                <a:gd name="connsiteY0" fmla="*/ 489 h 699712"/>
                <a:gd name="connsiteX1" fmla="*/ 954617 w 954617"/>
                <a:gd name="connsiteY1" fmla="*/ 268773 h 699712"/>
                <a:gd name="connsiteX2" fmla="*/ 0 w 954617"/>
                <a:gd name="connsiteY2" fmla="*/ 699712 h 699712"/>
                <a:gd name="connsiteX3" fmla="*/ 0 w 954617"/>
                <a:gd name="connsiteY3" fmla="*/ 489 h 699712"/>
                <a:gd name="connsiteX0" fmla="*/ 0 w 954617"/>
                <a:gd name="connsiteY0" fmla="*/ 489 h 699712"/>
                <a:gd name="connsiteX1" fmla="*/ 954617 w 954617"/>
                <a:gd name="connsiteY1" fmla="*/ 268773 h 699712"/>
                <a:gd name="connsiteX0" fmla="*/ 0 w 954617"/>
                <a:gd name="connsiteY0" fmla="*/ 437 h 699660"/>
                <a:gd name="connsiteX1" fmla="*/ 954617 w 954617"/>
                <a:gd name="connsiteY1" fmla="*/ 268721 h 699660"/>
                <a:gd name="connsiteX2" fmla="*/ 0 w 954617"/>
                <a:gd name="connsiteY2" fmla="*/ 699660 h 699660"/>
                <a:gd name="connsiteX3" fmla="*/ 0 w 954617"/>
                <a:gd name="connsiteY3" fmla="*/ 437 h 699660"/>
                <a:gd name="connsiteX0" fmla="*/ 0 w 954617"/>
                <a:gd name="connsiteY0" fmla="*/ 437 h 699660"/>
                <a:gd name="connsiteX1" fmla="*/ 954617 w 954617"/>
                <a:gd name="connsiteY1" fmla="*/ 268721 h 699660"/>
                <a:gd name="connsiteX0" fmla="*/ 0 w 954617"/>
                <a:gd name="connsiteY0" fmla="*/ 298 h 699521"/>
                <a:gd name="connsiteX1" fmla="*/ 954617 w 954617"/>
                <a:gd name="connsiteY1" fmla="*/ 268582 h 699521"/>
                <a:gd name="connsiteX2" fmla="*/ 0 w 954617"/>
                <a:gd name="connsiteY2" fmla="*/ 699521 h 699521"/>
                <a:gd name="connsiteX3" fmla="*/ 0 w 954617"/>
                <a:gd name="connsiteY3" fmla="*/ 298 h 699521"/>
                <a:gd name="connsiteX0" fmla="*/ 0 w 954617"/>
                <a:gd name="connsiteY0" fmla="*/ 298 h 699521"/>
                <a:gd name="connsiteX1" fmla="*/ 954617 w 954617"/>
                <a:gd name="connsiteY1" fmla="*/ 268582 h 699521"/>
                <a:gd name="connsiteX0" fmla="*/ 0 w 954617"/>
                <a:gd name="connsiteY0" fmla="*/ 194 h 699417"/>
                <a:gd name="connsiteX1" fmla="*/ 954617 w 954617"/>
                <a:gd name="connsiteY1" fmla="*/ 268478 h 699417"/>
                <a:gd name="connsiteX2" fmla="*/ 0 w 954617"/>
                <a:gd name="connsiteY2" fmla="*/ 699417 h 699417"/>
                <a:gd name="connsiteX3" fmla="*/ 0 w 954617"/>
                <a:gd name="connsiteY3" fmla="*/ 194 h 699417"/>
                <a:gd name="connsiteX0" fmla="*/ 0 w 954617"/>
                <a:gd name="connsiteY0" fmla="*/ 194 h 699417"/>
                <a:gd name="connsiteX1" fmla="*/ 954617 w 954617"/>
                <a:gd name="connsiteY1" fmla="*/ 268478 h 699417"/>
                <a:gd name="connsiteX0" fmla="*/ 0 w 954617"/>
                <a:gd name="connsiteY0" fmla="*/ 4587 h 703810"/>
                <a:gd name="connsiteX1" fmla="*/ 954617 w 954617"/>
                <a:gd name="connsiteY1" fmla="*/ 272871 h 703810"/>
                <a:gd name="connsiteX2" fmla="*/ 0 w 954617"/>
                <a:gd name="connsiteY2" fmla="*/ 703810 h 703810"/>
                <a:gd name="connsiteX3" fmla="*/ 0 w 954617"/>
                <a:gd name="connsiteY3" fmla="*/ 4587 h 703810"/>
                <a:gd name="connsiteX0" fmla="*/ 0 w 954617"/>
                <a:gd name="connsiteY0" fmla="*/ 4587 h 703810"/>
                <a:gd name="connsiteX1" fmla="*/ 954617 w 954617"/>
                <a:gd name="connsiteY1" fmla="*/ 272871 h 703810"/>
                <a:gd name="connsiteX0" fmla="*/ 0 w 954617"/>
                <a:gd name="connsiteY0" fmla="*/ 6926 h 706149"/>
                <a:gd name="connsiteX1" fmla="*/ 954617 w 954617"/>
                <a:gd name="connsiteY1" fmla="*/ 275210 h 706149"/>
                <a:gd name="connsiteX2" fmla="*/ 0 w 954617"/>
                <a:gd name="connsiteY2" fmla="*/ 706149 h 706149"/>
                <a:gd name="connsiteX3" fmla="*/ 0 w 954617"/>
                <a:gd name="connsiteY3" fmla="*/ 6926 h 706149"/>
                <a:gd name="connsiteX0" fmla="*/ 0 w 954617"/>
                <a:gd name="connsiteY0" fmla="*/ 6926 h 706149"/>
                <a:gd name="connsiteX1" fmla="*/ 954617 w 954617"/>
                <a:gd name="connsiteY1" fmla="*/ 275210 h 706149"/>
                <a:gd name="connsiteX0" fmla="*/ 0 w 954617"/>
                <a:gd name="connsiteY0" fmla="*/ 8297 h 707520"/>
                <a:gd name="connsiteX1" fmla="*/ 954617 w 954617"/>
                <a:gd name="connsiteY1" fmla="*/ 276581 h 707520"/>
                <a:gd name="connsiteX2" fmla="*/ 0 w 954617"/>
                <a:gd name="connsiteY2" fmla="*/ 707520 h 707520"/>
                <a:gd name="connsiteX3" fmla="*/ 0 w 954617"/>
                <a:gd name="connsiteY3" fmla="*/ 8297 h 707520"/>
                <a:gd name="connsiteX0" fmla="*/ 0 w 954617"/>
                <a:gd name="connsiteY0" fmla="*/ 8297 h 707520"/>
                <a:gd name="connsiteX1" fmla="*/ 954617 w 954617"/>
                <a:gd name="connsiteY1" fmla="*/ 276581 h 707520"/>
                <a:gd name="connsiteX0" fmla="*/ 0 w 954617"/>
                <a:gd name="connsiteY0" fmla="*/ 8407 h 707630"/>
                <a:gd name="connsiteX1" fmla="*/ 954617 w 954617"/>
                <a:gd name="connsiteY1" fmla="*/ 276691 h 707630"/>
                <a:gd name="connsiteX2" fmla="*/ 0 w 954617"/>
                <a:gd name="connsiteY2" fmla="*/ 707630 h 707630"/>
                <a:gd name="connsiteX3" fmla="*/ 0 w 954617"/>
                <a:gd name="connsiteY3" fmla="*/ 8407 h 707630"/>
                <a:gd name="connsiteX0" fmla="*/ 0 w 954617"/>
                <a:gd name="connsiteY0" fmla="*/ 8407 h 707630"/>
                <a:gd name="connsiteX1" fmla="*/ 954617 w 954617"/>
                <a:gd name="connsiteY1" fmla="*/ 276691 h 707630"/>
                <a:gd name="connsiteX0" fmla="*/ 0 w 954617"/>
                <a:gd name="connsiteY0" fmla="*/ 8407 h 707630"/>
                <a:gd name="connsiteX1" fmla="*/ 954617 w 954617"/>
                <a:gd name="connsiteY1" fmla="*/ 276691 h 707630"/>
                <a:gd name="connsiteX2" fmla="*/ 0 w 954617"/>
                <a:gd name="connsiteY2" fmla="*/ 707630 h 707630"/>
                <a:gd name="connsiteX3" fmla="*/ 0 w 954617"/>
                <a:gd name="connsiteY3" fmla="*/ 8407 h 707630"/>
                <a:gd name="connsiteX0" fmla="*/ 0 w 954617"/>
                <a:gd name="connsiteY0" fmla="*/ 8407 h 707630"/>
                <a:gd name="connsiteX1" fmla="*/ 948622 w 954617"/>
                <a:gd name="connsiteY1" fmla="*/ 278783 h 707630"/>
                <a:gd name="connsiteX0" fmla="*/ 0 w 954617"/>
                <a:gd name="connsiteY0" fmla="*/ 8407 h 707630"/>
                <a:gd name="connsiteX1" fmla="*/ 954617 w 954617"/>
                <a:gd name="connsiteY1" fmla="*/ 276691 h 707630"/>
                <a:gd name="connsiteX2" fmla="*/ 0 w 954617"/>
                <a:gd name="connsiteY2" fmla="*/ 707630 h 707630"/>
                <a:gd name="connsiteX3" fmla="*/ 0 w 954617"/>
                <a:gd name="connsiteY3" fmla="*/ 8407 h 707630"/>
                <a:gd name="connsiteX0" fmla="*/ 0 w 954617"/>
                <a:gd name="connsiteY0" fmla="*/ 8407 h 707630"/>
                <a:gd name="connsiteX1" fmla="*/ 954617 w 954617"/>
                <a:gd name="connsiteY1" fmla="*/ 276692 h 707630"/>
                <a:gd name="connsiteX0" fmla="*/ 0 w 954617"/>
                <a:gd name="connsiteY0" fmla="*/ 8407 h 707630"/>
                <a:gd name="connsiteX1" fmla="*/ 954617 w 954617"/>
                <a:gd name="connsiteY1" fmla="*/ 276691 h 707630"/>
                <a:gd name="connsiteX2" fmla="*/ 0 w 954617"/>
                <a:gd name="connsiteY2" fmla="*/ 707630 h 707630"/>
                <a:gd name="connsiteX3" fmla="*/ 0 w 954617"/>
                <a:gd name="connsiteY3" fmla="*/ 8407 h 707630"/>
                <a:gd name="connsiteX0" fmla="*/ 0 w 954617"/>
                <a:gd name="connsiteY0" fmla="*/ 8407 h 707630"/>
                <a:gd name="connsiteX1" fmla="*/ 949668 w 954617"/>
                <a:gd name="connsiteY1" fmla="*/ 281781 h 707630"/>
                <a:gd name="connsiteX0" fmla="*/ 0 w 954617"/>
                <a:gd name="connsiteY0" fmla="*/ 8407 h 707630"/>
                <a:gd name="connsiteX1" fmla="*/ 954617 w 954617"/>
                <a:gd name="connsiteY1" fmla="*/ 276691 h 707630"/>
                <a:gd name="connsiteX2" fmla="*/ 0 w 954617"/>
                <a:gd name="connsiteY2" fmla="*/ 707630 h 707630"/>
                <a:gd name="connsiteX3" fmla="*/ 0 w 954617"/>
                <a:gd name="connsiteY3" fmla="*/ 8407 h 707630"/>
                <a:gd name="connsiteX0" fmla="*/ 0 w 954617"/>
                <a:gd name="connsiteY0" fmla="*/ 8407 h 707630"/>
                <a:gd name="connsiteX1" fmla="*/ 952666 w 954617"/>
                <a:gd name="connsiteY1" fmla="*/ 280735 h 707630"/>
                <a:gd name="connsiteX0" fmla="*/ 0 w 954617"/>
                <a:gd name="connsiteY0" fmla="*/ 3989 h 703212"/>
                <a:gd name="connsiteX1" fmla="*/ 954617 w 954617"/>
                <a:gd name="connsiteY1" fmla="*/ 272273 h 703212"/>
                <a:gd name="connsiteX2" fmla="*/ 0 w 954617"/>
                <a:gd name="connsiteY2" fmla="*/ 703212 h 703212"/>
                <a:gd name="connsiteX3" fmla="*/ 0 w 954617"/>
                <a:gd name="connsiteY3" fmla="*/ 3989 h 703212"/>
                <a:gd name="connsiteX0" fmla="*/ 0 w 954617"/>
                <a:gd name="connsiteY0" fmla="*/ 3989 h 703212"/>
                <a:gd name="connsiteX1" fmla="*/ 952666 w 954617"/>
                <a:gd name="connsiteY1" fmla="*/ 276317 h 703212"/>
                <a:gd name="connsiteX0" fmla="*/ 0 w 954617"/>
                <a:gd name="connsiteY0" fmla="*/ 3989 h 703212"/>
                <a:gd name="connsiteX1" fmla="*/ 954617 w 954617"/>
                <a:gd name="connsiteY1" fmla="*/ 272273 h 703212"/>
                <a:gd name="connsiteX2" fmla="*/ 0 w 954617"/>
                <a:gd name="connsiteY2" fmla="*/ 703212 h 703212"/>
                <a:gd name="connsiteX3" fmla="*/ 0 w 954617"/>
                <a:gd name="connsiteY3" fmla="*/ 3989 h 703212"/>
                <a:gd name="connsiteX0" fmla="*/ 0 w 954617"/>
                <a:gd name="connsiteY0" fmla="*/ 3989 h 703212"/>
                <a:gd name="connsiteX1" fmla="*/ 950575 w 954617"/>
                <a:gd name="connsiteY1" fmla="*/ 270322 h 703212"/>
                <a:gd name="connsiteX0" fmla="*/ 0 w 956710"/>
                <a:gd name="connsiteY0" fmla="*/ 3989 h 703212"/>
                <a:gd name="connsiteX1" fmla="*/ 954617 w 956710"/>
                <a:gd name="connsiteY1" fmla="*/ 272273 h 703212"/>
                <a:gd name="connsiteX2" fmla="*/ 0 w 956710"/>
                <a:gd name="connsiteY2" fmla="*/ 703212 h 703212"/>
                <a:gd name="connsiteX3" fmla="*/ 0 w 956710"/>
                <a:gd name="connsiteY3" fmla="*/ 3989 h 703212"/>
                <a:gd name="connsiteX0" fmla="*/ 0 w 956710"/>
                <a:gd name="connsiteY0" fmla="*/ 3989 h 703212"/>
                <a:gd name="connsiteX1" fmla="*/ 956710 w 956710"/>
                <a:gd name="connsiteY1" fmla="*/ 278270 h 703212"/>
                <a:gd name="connsiteX0" fmla="*/ 0 w 956710"/>
                <a:gd name="connsiteY0" fmla="*/ 3989 h 703212"/>
                <a:gd name="connsiteX1" fmla="*/ 954617 w 956710"/>
                <a:gd name="connsiteY1" fmla="*/ 272273 h 703212"/>
                <a:gd name="connsiteX2" fmla="*/ 0 w 956710"/>
                <a:gd name="connsiteY2" fmla="*/ 703212 h 703212"/>
                <a:gd name="connsiteX3" fmla="*/ 0 w 956710"/>
                <a:gd name="connsiteY3" fmla="*/ 3989 h 703212"/>
                <a:gd name="connsiteX0" fmla="*/ 0 w 956710"/>
                <a:gd name="connsiteY0" fmla="*/ 3989 h 703212"/>
                <a:gd name="connsiteX1" fmla="*/ 956710 w 956710"/>
                <a:gd name="connsiteY1" fmla="*/ 278270 h 703212"/>
                <a:gd name="connsiteX0" fmla="*/ 0 w 956710"/>
                <a:gd name="connsiteY0" fmla="*/ 3989 h 703212"/>
                <a:gd name="connsiteX1" fmla="*/ 954617 w 956710"/>
                <a:gd name="connsiteY1" fmla="*/ 272273 h 703212"/>
                <a:gd name="connsiteX2" fmla="*/ 0 w 956710"/>
                <a:gd name="connsiteY2" fmla="*/ 703212 h 703212"/>
                <a:gd name="connsiteX3" fmla="*/ 0 w 956710"/>
                <a:gd name="connsiteY3" fmla="*/ 3989 h 703212"/>
                <a:gd name="connsiteX0" fmla="*/ 0 w 956710"/>
                <a:gd name="connsiteY0" fmla="*/ 3989 h 703212"/>
                <a:gd name="connsiteX1" fmla="*/ 956710 w 956710"/>
                <a:gd name="connsiteY1" fmla="*/ 278270 h 703212"/>
                <a:gd name="connsiteX0" fmla="*/ 0 w 956710"/>
                <a:gd name="connsiteY0" fmla="*/ 5052 h 704275"/>
                <a:gd name="connsiteX1" fmla="*/ 954617 w 956710"/>
                <a:gd name="connsiteY1" fmla="*/ 273336 h 704275"/>
                <a:gd name="connsiteX2" fmla="*/ 0 w 956710"/>
                <a:gd name="connsiteY2" fmla="*/ 704275 h 704275"/>
                <a:gd name="connsiteX3" fmla="*/ 0 w 956710"/>
                <a:gd name="connsiteY3" fmla="*/ 5052 h 704275"/>
                <a:gd name="connsiteX0" fmla="*/ 0 w 956710"/>
                <a:gd name="connsiteY0" fmla="*/ 5052 h 704275"/>
                <a:gd name="connsiteX1" fmla="*/ 956710 w 956710"/>
                <a:gd name="connsiteY1" fmla="*/ 279333 h 704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6710" h="704275" stroke="0" extrusionOk="0">
                  <a:moveTo>
                    <a:pt x="0" y="5052"/>
                  </a:moveTo>
                  <a:cubicBezTo>
                    <a:pt x="379417" y="-24160"/>
                    <a:pt x="617010" y="74362"/>
                    <a:pt x="954617" y="273336"/>
                  </a:cubicBezTo>
                  <a:lnTo>
                    <a:pt x="0" y="704275"/>
                  </a:lnTo>
                  <a:lnTo>
                    <a:pt x="0" y="5052"/>
                  </a:lnTo>
                  <a:close/>
                </a:path>
                <a:path w="956710" h="704275" fill="none">
                  <a:moveTo>
                    <a:pt x="0" y="5052"/>
                  </a:moveTo>
                  <a:cubicBezTo>
                    <a:pt x="372796" y="5052"/>
                    <a:pt x="690559" y="92422"/>
                    <a:pt x="956710" y="279333"/>
                  </a:cubicBezTo>
                </a:path>
              </a:pathLst>
            </a:custGeom>
            <a:ln w="44450">
              <a:solidFill>
                <a:schemeClr val="accent2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sv-SE" sz="2400"/>
            </a:p>
          </p:txBody>
        </p:sp>
      </p:grpSp>
      <p:sp>
        <p:nvSpPr>
          <p:cNvPr id="11" name="Platshållare för innehåll 7"/>
          <p:cNvSpPr>
            <a:spLocks noGrp="1"/>
          </p:cNvSpPr>
          <p:nvPr>
            <p:ph sz="quarter" idx="25"/>
          </p:nvPr>
        </p:nvSpPr>
        <p:spPr>
          <a:xfrm>
            <a:off x="478368" y="1350434"/>
            <a:ext cx="6945600" cy="4610100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3" name="Platshållare för text 12"/>
          <p:cNvSpPr>
            <a:spLocks noGrp="1"/>
          </p:cNvSpPr>
          <p:nvPr>
            <p:ph type="body" sz="quarter" idx="26" hasCustomPrompt="1"/>
          </p:nvPr>
        </p:nvSpPr>
        <p:spPr>
          <a:xfrm>
            <a:off x="7903633" y="1422400"/>
            <a:ext cx="3810000" cy="2269067"/>
          </a:xfrm>
        </p:spPr>
        <p:txBody>
          <a:bodyPr lIns="180000" tIns="180000" rIns="180000" bIns="180000" anchor="ctr">
            <a:normAutofit/>
          </a:bodyPr>
          <a:lstStyle>
            <a:lvl1pPr algn="ctr">
              <a:defRPr sz="2400" b="0" i="1"/>
            </a:lvl1pPr>
          </a:lstStyle>
          <a:p>
            <a:pPr lvl="0"/>
            <a:r>
              <a:rPr lang="sv-SE"/>
              <a:t>Skriv text här</a:t>
            </a:r>
          </a:p>
        </p:txBody>
      </p:sp>
      <p:sp>
        <p:nvSpPr>
          <p:cNvPr id="14" name="Platshållare för datum 13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3BBE2851-FD27-4D65-AB2B-A9CA176BDBB0}" type="datetime1">
              <a:rPr lang="sv-SE" smtClean="0"/>
              <a:t>2023-12-11</a:t>
            </a:fld>
            <a:endParaRPr lang="sv-SE"/>
          </a:p>
        </p:txBody>
      </p:sp>
      <p:sp>
        <p:nvSpPr>
          <p:cNvPr id="16" name="Platshållare för sidfot 15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sv-SE"/>
              <a:t>Sidfotstext (ändras under Meny Infoga och knappen Sidhuvud/Sidfot)</a:t>
            </a:r>
          </a:p>
        </p:txBody>
      </p:sp>
      <p:sp>
        <p:nvSpPr>
          <p:cNvPr id="17" name="Platshållare för bildnummer 16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6518439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tfallande bild, rubrik vänster,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12192000" cy="5960535"/>
          </a:xfrm>
          <a:solidFill>
            <a:schemeClr val="accent5"/>
          </a:solidFill>
        </p:spPr>
        <p:txBody>
          <a:bodyPr lIns="144000" tIns="72000" anchor="t">
            <a:normAutofit/>
          </a:bodyPr>
          <a:lstStyle>
            <a:lvl1pPr algn="l">
              <a:defRPr sz="1333" baseline="0"/>
            </a:lvl1pPr>
          </a:lstStyle>
          <a:p>
            <a:r>
              <a:rPr lang="sv-SE"/>
              <a:t>Klicka här och infoga bild via knappen Bild i menyflik Infoga</a:t>
            </a:r>
          </a:p>
        </p:txBody>
      </p:sp>
      <p:sp>
        <p:nvSpPr>
          <p:cNvPr id="6" name="Platshållare för datum 5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1CFE573-7EC0-40F6-8112-D328102BBEA9}" type="datetime1">
              <a:rPr lang="sv-SE" smtClean="0"/>
              <a:t>2023-12-11</a:t>
            </a:fld>
            <a:endParaRPr lang="sv-SE"/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sv-SE"/>
              <a:t>Sidfotstext (ändras under Meny Infoga och knappen Sidhuvud/Sidfot)</a:t>
            </a:r>
          </a:p>
        </p:txBody>
      </p:sp>
      <p:sp>
        <p:nvSpPr>
          <p:cNvPr id="10" name="Platshållare för bildnumm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Rubrik 1">
            <a:extLst>
              <a:ext uri="{FF2B5EF4-FFF2-40B4-BE49-F238E27FC236}">
                <a16:creationId xmlns:a16="http://schemas.microsoft.com/office/drawing/2014/main" id="{48F918F8-630B-4938-985C-5534B6A3F7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67" y="480485"/>
            <a:ext cx="4762500" cy="5001600"/>
          </a:xfrm>
          <a:effectLst/>
        </p:spPr>
        <p:txBody>
          <a:bodyPr anchor="ctr">
            <a:normAutofit/>
          </a:bodyPr>
          <a:lstStyle>
            <a:lvl1pPr algn="l">
              <a:lnSpc>
                <a:spcPct val="85000"/>
              </a:lnSpc>
              <a:defRPr sz="4000" kern="0" spc="-107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</a:t>
            </a:r>
            <a:br>
              <a:rPr lang="sv-SE"/>
            </a:br>
            <a:r>
              <a:rPr lang="sv-SE"/>
              <a:t>för att lägga till rubrik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49D66796-E07E-4CC7-9C6C-657D4680F7F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096000" y="0"/>
            <a:ext cx="6096000" cy="5961600"/>
          </a:xfrm>
          <a:solidFill>
            <a:srgbClr val="00427A">
              <a:alpha val="85098"/>
            </a:srgbClr>
          </a:solidFill>
        </p:spPr>
        <p:txBody>
          <a:bodyPr lIns="360000" tIns="360000" rIns="360000" bIns="360000" anchor="ctr"/>
          <a:lstStyle>
            <a:lvl1pPr algn="ctr"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Här kan du lägga till text eller grafik.</a:t>
            </a:r>
          </a:p>
        </p:txBody>
      </p:sp>
    </p:spTree>
    <p:extLst>
      <p:ext uri="{BB962C8B-B14F-4D97-AF65-F5344CB8AC3E}">
        <p14:creationId xmlns:p14="http://schemas.microsoft.com/office/powerpoint/2010/main" val="11581703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bild, sidfot, vit 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4" hasCustomPrompt="1"/>
          </p:nvPr>
        </p:nvSpPr>
        <p:spPr>
          <a:xfrm>
            <a:off x="478367" y="480484"/>
            <a:ext cx="11235267" cy="5480051"/>
          </a:xfrm>
          <a:solidFill>
            <a:schemeClr val="accent5"/>
          </a:solidFill>
        </p:spPr>
        <p:txBody>
          <a:bodyPr tIns="72000" anchor="t">
            <a:normAutofit/>
          </a:bodyPr>
          <a:lstStyle>
            <a:lvl1pPr algn="ctr">
              <a:defRPr sz="1333" baseline="0"/>
            </a:lvl1pPr>
          </a:lstStyle>
          <a:p>
            <a:r>
              <a:rPr lang="sv-SE"/>
              <a:t>Klicka här och infoga bild via knappen Bild i menyflik Infoga</a:t>
            </a: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1236133" y="1350433"/>
            <a:ext cx="9719735" cy="2074115"/>
          </a:xfrm>
        </p:spPr>
        <p:txBody>
          <a:bodyPr anchor="b"/>
          <a:lstStyle>
            <a:lvl1pPr algn="ctr">
              <a:lnSpc>
                <a:spcPct val="85000"/>
              </a:lnSpc>
              <a:defRPr sz="5333" kern="0" spc="-107" baseline="0">
                <a:solidFill>
                  <a:schemeClr val="bg1"/>
                </a:solidFill>
                <a:effectLst/>
              </a:defRPr>
            </a:lvl1pPr>
          </a:lstStyle>
          <a:p>
            <a:r>
              <a:rPr lang="sv-SE"/>
              <a:t>Lägg till rubrik</a:t>
            </a:r>
          </a:p>
        </p:txBody>
      </p:sp>
      <p:sp>
        <p:nvSpPr>
          <p:cNvPr id="7" name="Platshållare för text 6"/>
          <p:cNvSpPr>
            <a:spLocks noGrp="1"/>
          </p:cNvSpPr>
          <p:nvPr>
            <p:ph type="body" sz="quarter" idx="13" hasCustomPrompt="1"/>
          </p:nvPr>
        </p:nvSpPr>
        <p:spPr>
          <a:xfrm>
            <a:off x="1236133" y="3592549"/>
            <a:ext cx="9719735" cy="1601752"/>
          </a:xfrm>
        </p:spPr>
        <p:txBody>
          <a:bodyPr>
            <a:normAutofit/>
          </a:bodyPr>
          <a:lstStyle>
            <a:lvl1pPr algn="ctr">
              <a:lnSpc>
                <a:spcPct val="95000"/>
              </a:lnSpc>
              <a:defRPr sz="2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Lägg till underrubrik</a:t>
            </a:r>
          </a:p>
        </p:txBody>
      </p:sp>
      <p:sp>
        <p:nvSpPr>
          <p:cNvPr id="6" name="Platshållare för datum 5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7EABC0A6-B0C9-4908-A097-9AC1A55A2B0D}" type="datetime1">
              <a:rPr lang="sv-SE" smtClean="0"/>
              <a:t>2023-12-11</a:t>
            </a:fld>
            <a:endParaRPr lang="sv-SE"/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sv-SE"/>
              <a:t>Sidfotstext (ändras under Meny Infoga och knappen Sidhuvud/Sidfot)</a:t>
            </a:r>
          </a:p>
        </p:txBody>
      </p:sp>
      <p:sp>
        <p:nvSpPr>
          <p:cNvPr id="10" name="Platshållare för bildnumm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0792678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bild, innehåll v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8">
            <a:extLst>
              <a:ext uri="{FF2B5EF4-FFF2-40B4-BE49-F238E27FC236}">
                <a16:creationId xmlns:a16="http://schemas.microsoft.com/office/drawing/2014/main" id="{8A37E02B-06F2-49F0-BE0E-689EA4C3F7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12192000" cy="5960535"/>
          </a:xfrm>
          <a:solidFill>
            <a:schemeClr val="accent5"/>
          </a:solidFill>
        </p:spPr>
        <p:txBody>
          <a:bodyPr lIns="144000" tIns="72000" anchor="t">
            <a:normAutofit/>
          </a:bodyPr>
          <a:lstStyle>
            <a:lvl1pPr algn="ctr">
              <a:defRPr sz="1333" baseline="0"/>
            </a:lvl1pPr>
          </a:lstStyle>
          <a:p>
            <a:r>
              <a:rPr lang="sv-SE"/>
              <a:t>Klicka här och infoga bild via knappen Bild i menyflik Infoga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874304A9-AB1F-4FC0-A308-05A2ABAE6F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Lägg till rubrik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20748732-0971-4FEA-ABD1-69385C3B00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713AB1-E138-4892-BFAB-C3929C815310}" type="datetime1">
              <a:rPr lang="sv-SE" smtClean="0"/>
              <a:t>2023-12-11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38734AEE-519F-42A1-986C-102148BDA6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idfotstext (ändras under Meny Infoga och knappen Sidhuvud/Sidfot)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15E0B101-04F6-4AB3-AEBE-3B170B8AD4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Platshållare för innehåll 6">
            <a:extLst>
              <a:ext uri="{FF2B5EF4-FFF2-40B4-BE49-F238E27FC236}">
                <a16:creationId xmlns:a16="http://schemas.microsoft.com/office/drawing/2014/main" id="{394EB835-DD35-405B-932E-86D3D886961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78368" y="1350434"/>
            <a:ext cx="11235267" cy="46101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84032920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tis brö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3145367" y="1239865"/>
            <a:ext cx="5901267" cy="3597179"/>
          </a:xfrm>
        </p:spPr>
        <p:txBody>
          <a:bodyPr lIns="180000" tIns="180000" rIns="180000" bIns="180000" anchor="ctr"/>
          <a:lstStyle>
            <a:lvl1pPr algn="ctr">
              <a:lnSpc>
                <a:spcPct val="90000"/>
              </a:lnSpc>
              <a:defRPr sz="3200" b="0" i="1" kern="1200" spc="-53" baseline="0"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sv-SE"/>
              <a:t>Lägg till text</a:t>
            </a:r>
          </a:p>
        </p:txBody>
      </p:sp>
      <p:grpSp>
        <p:nvGrpSpPr>
          <p:cNvPr id="7" name="Grupp 6"/>
          <p:cNvGrpSpPr/>
          <p:nvPr userDrawn="1"/>
        </p:nvGrpSpPr>
        <p:grpSpPr>
          <a:xfrm>
            <a:off x="3216001" y="1264749"/>
            <a:ext cx="5762212" cy="4228540"/>
            <a:chOff x="2412000" y="1095795"/>
            <a:chExt cx="4321659" cy="3171405"/>
          </a:xfrm>
        </p:grpSpPr>
        <p:sp>
          <p:nvSpPr>
            <p:cNvPr id="8" name="Frihandsfigur 7"/>
            <p:cNvSpPr/>
            <p:nvPr/>
          </p:nvSpPr>
          <p:spPr>
            <a:xfrm rot="10800000">
              <a:off x="2412000" y="1114424"/>
              <a:ext cx="4320000" cy="3152776"/>
            </a:xfrm>
            <a:custGeom>
              <a:avLst/>
              <a:gdLst>
                <a:gd name="connsiteX0" fmla="*/ 3011900 w 4320000"/>
                <a:gd name="connsiteY0" fmla="*/ 3152776 h 3152776"/>
                <a:gd name="connsiteX1" fmla="*/ 1308100 w 4320000"/>
                <a:gd name="connsiteY1" fmla="*/ 3152776 h 3152776"/>
                <a:gd name="connsiteX2" fmla="*/ 0 w 4320000"/>
                <a:gd name="connsiteY2" fmla="*/ 1844676 h 3152776"/>
                <a:gd name="connsiteX3" fmla="*/ 1308100 w 4320000"/>
                <a:gd name="connsiteY3" fmla="*/ 536576 h 3152776"/>
                <a:gd name="connsiteX4" fmla="*/ 1769475 w 4320000"/>
                <a:gd name="connsiteY4" fmla="*/ 536576 h 3152776"/>
                <a:gd name="connsiteX5" fmla="*/ 1769475 w 4320000"/>
                <a:gd name="connsiteY5" fmla="*/ 0 h 3152776"/>
                <a:gd name="connsiteX6" fmla="*/ 2429228 w 4320000"/>
                <a:gd name="connsiteY6" fmla="*/ 536576 h 3152776"/>
                <a:gd name="connsiteX7" fmla="*/ 3011900 w 4320000"/>
                <a:gd name="connsiteY7" fmla="*/ 536576 h 3152776"/>
                <a:gd name="connsiteX8" fmla="*/ 4320000 w 4320000"/>
                <a:gd name="connsiteY8" fmla="*/ 1844676 h 3152776"/>
                <a:gd name="connsiteX9" fmla="*/ 3011900 w 4320000"/>
                <a:gd name="connsiteY9" fmla="*/ 3152776 h 3152776"/>
                <a:gd name="connsiteX0" fmla="*/ 1769475 w 4320000"/>
                <a:gd name="connsiteY0" fmla="*/ 536576 h 3152776"/>
                <a:gd name="connsiteX1" fmla="*/ 1769475 w 4320000"/>
                <a:gd name="connsiteY1" fmla="*/ 0 h 3152776"/>
                <a:gd name="connsiteX2" fmla="*/ 2429228 w 4320000"/>
                <a:gd name="connsiteY2" fmla="*/ 536576 h 3152776"/>
                <a:gd name="connsiteX3" fmla="*/ 3011900 w 4320000"/>
                <a:gd name="connsiteY3" fmla="*/ 536576 h 3152776"/>
                <a:gd name="connsiteX4" fmla="*/ 4320000 w 4320000"/>
                <a:gd name="connsiteY4" fmla="*/ 1844676 h 3152776"/>
                <a:gd name="connsiteX5" fmla="*/ 3011900 w 4320000"/>
                <a:gd name="connsiteY5" fmla="*/ 3152776 h 3152776"/>
                <a:gd name="connsiteX6" fmla="*/ 1308100 w 4320000"/>
                <a:gd name="connsiteY6" fmla="*/ 3152776 h 3152776"/>
                <a:gd name="connsiteX7" fmla="*/ 0 w 4320000"/>
                <a:gd name="connsiteY7" fmla="*/ 1844676 h 3152776"/>
                <a:gd name="connsiteX8" fmla="*/ 1308100 w 4320000"/>
                <a:gd name="connsiteY8" fmla="*/ 536576 h 3152776"/>
                <a:gd name="connsiteX9" fmla="*/ 1860915 w 4320000"/>
                <a:gd name="connsiteY9" fmla="*/ 628016 h 3152776"/>
                <a:gd name="connsiteX0" fmla="*/ 1769475 w 4320000"/>
                <a:gd name="connsiteY0" fmla="*/ 536576 h 3152776"/>
                <a:gd name="connsiteX1" fmla="*/ 1769475 w 4320000"/>
                <a:gd name="connsiteY1" fmla="*/ 0 h 3152776"/>
                <a:gd name="connsiteX2" fmla="*/ 2429228 w 4320000"/>
                <a:gd name="connsiteY2" fmla="*/ 536576 h 3152776"/>
                <a:gd name="connsiteX3" fmla="*/ 3011900 w 4320000"/>
                <a:gd name="connsiteY3" fmla="*/ 536576 h 3152776"/>
                <a:gd name="connsiteX4" fmla="*/ 4320000 w 4320000"/>
                <a:gd name="connsiteY4" fmla="*/ 1844676 h 3152776"/>
                <a:gd name="connsiteX5" fmla="*/ 3011900 w 4320000"/>
                <a:gd name="connsiteY5" fmla="*/ 3152776 h 3152776"/>
                <a:gd name="connsiteX6" fmla="*/ 1308100 w 4320000"/>
                <a:gd name="connsiteY6" fmla="*/ 3152776 h 3152776"/>
                <a:gd name="connsiteX7" fmla="*/ 0 w 4320000"/>
                <a:gd name="connsiteY7" fmla="*/ 1844676 h 3152776"/>
                <a:gd name="connsiteX8" fmla="*/ 1308100 w 4320000"/>
                <a:gd name="connsiteY8" fmla="*/ 536576 h 3152776"/>
                <a:gd name="connsiteX9" fmla="*/ 1594215 w 4320000"/>
                <a:gd name="connsiteY9" fmla="*/ 532766 h 3152776"/>
                <a:gd name="connsiteX0" fmla="*/ 1769475 w 4320000"/>
                <a:gd name="connsiteY0" fmla="*/ 536576 h 3152776"/>
                <a:gd name="connsiteX1" fmla="*/ 1769475 w 4320000"/>
                <a:gd name="connsiteY1" fmla="*/ 0 h 3152776"/>
                <a:gd name="connsiteX2" fmla="*/ 2429228 w 4320000"/>
                <a:gd name="connsiteY2" fmla="*/ 536576 h 3152776"/>
                <a:gd name="connsiteX3" fmla="*/ 3011900 w 4320000"/>
                <a:gd name="connsiteY3" fmla="*/ 536576 h 3152776"/>
                <a:gd name="connsiteX4" fmla="*/ 4320000 w 4320000"/>
                <a:gd name="connsiteY4" fmla="*/ 1844676 h 3152776"/>
                <a:gd name="connsiteX5" fmla="*/ 3011900 w 4320000"/>
                <a:gd name="connsiteY5" fmla="*/ 3152776 h 3152776"/>
                <a:gd name="connsiteX6" fmla="*/ 1308100 w 4320000"/>
                <a:gd name="connsiteY6" fmla="*/ 3152776 h 3152776"/>
                <a:gd name="connsiteX7" fmla="*/ 0 w 4320000"/>
                <a:gd name="connsiteY7" fmla="*/ 1844676 h 3152776"/>
                <a:gd name="connsiteX8" fmla="*/ 1308100 w 4320000"/>
                <a:gd name="connsiteY8" fmla="*/ 536576 h 3152776"/>
                <a:gd name="connsiteX9" fmla="*/ 1575165 w 4320000"/>
                <a:gd name="connsiteY9" fmla="*/ 539116 h 3152776"/>
                <a:gd name="connsiteX0" fmla="*/ 1769475 w 4320000"/>
                <a:gd name="connsiteY0" fmla="*/ 536576 h 3152776"/>
                <a:gd name="connsiteX1" fmla="*/ 1769475 w 4320000"/>
                <a:gd name="connsiteY1" fmla="*/ 0 h 3152776"/>
                <a:gd name="connsiteX2" fmla="*/ 2429228 w 4320000"/>
                <a:gd name="connsiteY2" fmla="*/ 536576 h 3152776"/>
                <a:gd name="connsiteX3" fmla="*/ 3011900 w 4320000"/>
                <a:gd name="connsiteY3" fmla="*/ 536576 h 3152776"/>
                <a:gd name="connsiteX4" fmla="*/ 4320000 w 4320000"/>
                <a:gd name="connsiteY4" fmla="*/ 1844676 h 3152776"/>
                <a:gd name="connsiteX5" fmla="*/ 3011900 w 4320000"/>
                <a:gd name="connsiteY5" fmla="*/ 3152776 h 3152776"/>
                <a:gd name="connsiteX6" fmla="*/ 1308100 w 4320000"/>
                <a:gd name="connsiteY6" fmla="*/ 3152776 h 3152776"/>
                <a:gd name="connsiteX7" fmla="*/ 0 w 4320000"/>
                <a:gd name="connsiteY7" fmla="*/ 1844676 h 3152776"/>
                <a:gd name="connsiteX8" fmla="*/ 1308100 w 4320000"/>
                <a:gd name="connsiteY8" fmla="*/ 536576 h 3152776"/>
                <a:gd name="connsiteX9" fmla="*/ 1575165 w 4320000"/>
                <a:gd name="connsiteY9" fmla="*/ 535941 h 3152776"/>
                <a:gd name="connsiteX0" fmla="*/ 1769475 w 4320000"/>
                <a:gd name="connsiteY0" fmla="*/ 577851 h 3152776"/>
                <a:gd name="connsiteX1" fmla="*/ 1769475 w 4320000"/>
                <a:gd name="connsiteY1" fmla="*/ 0 h 3152776"/>
                <a:gd name="connsiteX2" fmla="*/ 2429228 w 4320000"/>
                <a:gd name="connsiteY2" fmla="*/ 536576 h 3152776"/>
                <a:gd name="connsiteX3" fmla="*/ 3011900 w 4320000"/>
                <a:gd name="connsiteY3" fmla="*/ 536576 h 3152776"/>
                <a:gd name="connsiteX4" fmla="*/ 4320000 w 4320000"/>
                <a:gd name="connsiteY4" fmla="*/ 1844676 h 3152776"/>
                <a:gd name="connsiteX5" fmla="*/ 3011900 w 4320000"/>
                <a:gd name="connsiteY5" fmla="*/ 3152776 h 3152776"/>
                <a:gd name="connsiteX6" fmla="*/ 1308100 w 4320000"/>
                <a:gd name="connsiteY6" fmla="*/ 3152776 h 3152776"/>
                <a:gd name="connsiteX7" fmla="*/ 0 w 4320000"/>
                <a:gd name="connsiteY7" fmla="*/ 1844676 h 3152776"/>
                <a:gd name="connsiteX8" fmla="*/ 1308100 w 4320000"/>
                <a:gd name="connsiteY8" fmla="*/ 536576 h 3152776"/>
                <a:gd name="connsiteX9" fmla="*/ 1575165 w 4320000"/>
                <a:gd name="connsiteY9" fmla="*/ 535941 h 3152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20000" h="3152776">
                  <a:moveTo>
                    <a:pt x="1769475" y="577851"/>
                  </a:moveTo>
                  <a:lnTo>
                    <a:pt x="1769475" y="0"/>
                  </a:lnTo>
                  <a:lnTo>
                    <a:pt x="2429228" y="536576"/>
                  </a:lnTo>
                  <a:lnTo>
                    <a:pt x="3011900" y="536576"/>
                  </a:lnTo>
                  <a:cubicBezTo>
                    <a:pt x="3734344" y="536576"/>
                    <a:pt x="4320000" y="1122232"/>
                    <a:pt x="4320000" y="1844676"/>
                  </a:cubicBezTo>
                  <a:cubicBezTo>
                    <a:pt x="4320000" y="2567120"/>
                    <a:pt x="3734344" y="3152776"/>
                    <a:pt x="3011900" y="3152776"/>
                  </a:cubicBezTo>
                  <a:lnTo>
                    <a:pt x="1308100" y="3152776"/>
                  </a:lnTo>
                  <a:cubicBezTo>
                    <a:pt x="585656" y="3152776"/>
                    <a:pt x="0" y="2567120"/>
                    <a:pt x="0" y="1844676"/>
                  </a:cubicBezTo>
                  <a:cubicBezTo>
                    <a:pt x="0" y="1122232"/>
                    <a:pt x="585656" y="536576"/>
                    <a:pt x="1308100" y="536576"/>
                  </a:cubicBezTo>
                  <a:lnTo>
                    <a:pt x="1575165" y="535941"/>
                  </a:lnTo>
                </a:path>
              </a:pathLst>
            </a:custGeom>
            <a:noFill/>
            <a:ln w="63500">
              <a:solidFill>
                <a:schemeClr val="accent1"/>
              </a:solidFill>
              <a:miter lim="800000"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2400"/>
            </a:p>
          </p:txBody>
        </p:sp>
        <p:sp>
          <p:nvSpPr>
            <p:cNvPr id="9" name="Båge 13"/>
            <p:cNvSpPr/>
            <p:nvPr/>
          </p:nvSpPr>
          <p:spPr>
            <a:xfrm rot="1153800">
              <a:off x="5776949" y="1095795"/>
              <a:ext cx="956710" cy="704275"/>
            </a:xfrm>
            <a:custGeom>
              <a:avLst/>
              <a:gdLst>
                <a:gd name="connsiteX0" fmla="*/ 1212208 w 2424415"/>
                <a:gd name="connsiteY0" fmla="*/ 0 h 1398446"/>
                <a:gd name="connsiteX1" fmla="*/ 2166825 w 2424415"/>
                <a:gd name="connsiteY1" fmla="*/ 268284 h 1398446"/>
                <a:gd name="connsiteX2" fmla="*/ 1212208 w 2424415"/>
                <a:gd name="connsiteY2" fmla="*/ 699223 h 1398446"/>
                <a:gd name="connsiteX3" fmla="*/ 1212208 w 2424415"/>
                <a:gd name="connsiteY3" fmla="*/ 0 h 1398446"/>
                <a:gd name="connsiteX0" fmla="*/ 1212208 w 2424415"/>
                <a:gd name="connsiteY0" fmla="*/ 0 h 1398446"/>
                <a:gd name="connsiteX1" fmla="*/ 2166825 w 2424415"/>
                <a:gd name="connsiteY1" fmla="*/ 268284 h 1398446"/>
                <a:gd name="connsiteX0" fmla="*/ 0 w 954617"/>
                <a:gd name="connsiteY0" fmla="*/ 1354 h 700577"/>
                <a:gd name="connsiteX1" fmla="*/ 954617 w 954617"/>
                <a:gd name="connsiteY1" fmla="*/ 269638 h 700577"/>
                <a:gd name="connsiteX2" fmla="*/ 0 w 954617"/>
                <a:gd name="connsiteY2" fmla="*/ 700577 h 700577"/>
                <a:gd name="connsiteX3" fmla="*/ 0 w 954617"/>
                <a:gd name="connsiteY3" fmla="*/ 1354 h 700577"/>
                <a:gd name="connsiteX0" fmla="*/ 0 w 954617"/>
                <a:gd name="connsiteY0" fmla="*/ 1354 h 700577"/>
                <a:gd name="connsiteX1" fmla="*/ 954617 w 954617"/>
                <a:gd name="connsiteY1" fmla="*/ 269638 h 700577"/>
                <a:gd name="connsiteX0" fmla="*/ 0 w 954617"/>
                <a:gd name="connsiteY0" fmla="*/ 2520 h 701743"/>
                <a:gd name="connsiteX1" fmla="*/ 954617 w 954617"/>
                <a:gd name="connsiteY1" fmla="*/ 270804 h 701743"/>
                <a:gd name="connsiteX2" fmla="*/ 0 w 954617"/>
                <a:gd name="connsiteY2" fmla="*/ 701743 h 701743"/>
                <a:gd name="connsiteX3" fmla="*/ 0 w 954617"/>
                <a:gd name="connsiteY3" fmla="*/ 2520 h 701743"/>
                <a:gd name="connsiteX0" fmla="*/ 0 w 954617"/>
                <a:gd name="connsiteY0" fmla="*/ 2520 h 701743"/>
                <a:gd name="connsiteX1" fmla="*/ 954617 w 954617"/>
                <a:gd name="connsiteY1" fmla="*/ 270804 h 701743"/>
                <a:gd name="connsiteX0" fmla="*/ 0 w 954617"/>
                <a:gd name="connsiteY0" fmla="*/ 2674 h 701897"/>
                <a:gd name="connsiteX1" fmla="*/ 954617 w 954617"/>
                <a:gd name="connsiteY1" fmla="*/ 270958 h 701897"/>
                <a:gd name="connsiteX2" fmla="*/ 0 w 954617"/>
                <a:gd name="connsiteY2" fmla="*/ 701897 h 701897"/>
                <a:gd name="connsiteX3" fmla="*/ 0 w 954617"/>
                <a:gd name="connsiteY3" fmla="*/ 2674 h 701897"/>
                <a:gd name="connsiteX0" fmla="*/ 0 w 954617"/>
                <a:gd name="connsiteY0" fmla="*/ 2674 h 701897"/>
                <a:gd name="connsiteX1" fmla="*/ 954617 w 954617"/>
                <a:gd name="connsiteY1" fmla="*/ 270958 h 701897"/>
                <a:gd name="connsiteX0" fmla="*/ 0 w 954617"/>
                <a:gd name="connsiteY0" fmla="*/ 2848 h 702071"/>
                <a:gd name="connsiteX1" fmla="*/ 954617 w 954617"/>
                <a:gd name="connsiteY1" fmla="*/ 271132 h 702071"/>
                <a:gd name="connsiteX2" fmla="*/ 0 w 954617"/>
                <a:gd name="connsiteY2" fmla="*/ 702071 h 702071"/>
                <a:gd name="connsiteX3" fmla="*/ 0 w 954617"/>
                <a:gd name="connsiteY3" fmla="*/ 2848 h 702071"/>
                <a:gd name="connsiteX0" fmla="*/ 0 w 954617"/>
                <a:gd name="connsiteY0" fmla="*/ 2848 h 702071"/>
                <a:gd name="connsiteX1" fmla="*/ 954617 w 954617"/>
                <a:gd name="connsiteY1" fmla="*/ 271132 h 702071"/>
                <a:gd name="connsiteX0" fmla="*/ 0 w 954617"/>
                <a:gd name="connsiteY0" fmla="*/ 3088 h 702311"/>
                <a:gd name="connsiteX1" fmla="*/ 954617 w 954617"/>
                <a:gd name="connsiteY1" fmla="*/ 271372 h 702311"/>
                <a:gd name="connsiteX2" fmla="*/ 0 w 954617"/>
                <a:gd name="connsiteY2" fmla="*/ 702311 h 702311"/>
                <a:gd name="connsiteX3" fmla="*/ 0 w 954617"/>
                <a:gd name="connsiteY3" fmla="*/ 3088 h 702311"/>
                <a:gd name="connsiteX0" fmla="*/ 0 w 954617"/>
                <a:gd name="connsiteY0" fmla="*/ 3088 h 702311"/>
                <a:gd name="connsiteX1" fmla="*/ 954617 w 954617"/>
                <a:gd name="connsiteY1" fmla="*/ 271372 h 702311"/>
                <a:gd name="connsiteX0" fmla="*/ 0 w 954617"/>
                <a:gd name="connsiteY0" fmla="*/ 270 h 699493"/>
                <a:gd name="connsiteX1" fmla="*/ 954617 w 954617"/>
                <a:gd name="connsiteY1" fmla="*/ 268554 h 699493"/>
                <a:gd name="connsiteX2" fmla="*/ 0 w 954617"/>
                <a:gd name="connsiteY2" fmla="*/ 699493 h 699493"/>
                <a:gd name="connsiteX3" fmla="*/ 0 w 954617"/>
                <a:gd name="connsiteY3" fmla="*/ 270 h 699493"/>
                <a:gd name="connsiteX0" fmla="*/ 0 w 954617"/>
                <a:gd name="connsiteY0" fmla="*/ 270 h 699493"/>
                <a:gd name="connsiteX1" fmla="*/ 954617 w 954617"/>
                <a:gd name="connsiteY1" fmla="*/ 268554 h 699493"/>
                <a:gd name="connsiteX0" fmla="*/ 0 w 954617"/>
                <a:gd name="connsiteY0" fmla="*/ 291 h 699514"/>
                <a:gd name="connsiteX1" fmla="*/ 954617 w 954617"/>
                <a:gd name="connsiteY1" fmla="*/ 268575 h 699514"/>
                <a:gd name="connsiteX2" fmla="*/ 0 w 954617"/>
                <a:gd name="connsiteY2" fmla="*/ 699514 h 699514"/>
                <a:gd name="connsiteX3" fmla="*/ 0 w 954617"/>
                <a:gd name="connsiteY3" fmla="*/ 291 h 699514"/>
                <a:gd name="connsiteX0" fmla="*/ 0 w 954617"/>
                <a:gd name="connsiteY0" fmla="*/ 291 h 699514"/>
                <a:gd name="connsiteX1" fmla="*/ 954617 w 954617"/>
                <a:gd name="connsiteY1" fmla="*/ 268575 h 699514"/>
                <a:gd name="connsiteX0" fmla="*/ 0 w 954617"/>
                <a:gd name="connsiteY0" fmla="*/ 433 h 699656"/>
                <a:gd name="connsiteX1" fmla="*/ 954617 w 954617"/>
                <a:gd name="connsiteY1" fmla="*/ 268717 h 699656"/>
                <a:gd name="connsiteX2" fmla="*/ 0 w 954617"/>
                <a:gd name="connsiteY2" fmla="*/ 699656 h 699656"/>
                <a:gd name="connsiteX3" fmla="*/ 0 w 954617"/>
                <a:gd name="connsiteY3" fmla="*/ 433 h 699656"/>
                <a:gd name="connsiteX0" fmla="*/ 0 w 954617"/>
                <a:gd name="connsiteY0" fmla="*/ 433 h 699656"/>
                <a:gd name="connsiteX1" fmla="*/ 954617 w 954617"/>
                <a:gd name="connsiteY1" fmla="*/ 268717 h 699656"/>
                <a:gd name="connsiteX0" fmla="*/ 0 w 954617"/>
                <a:gd name="connsiteY0" fmla="*/ 489 h 699712"/>
                <a:gd name="connsiteX1" fmla="*/ 954617 w 954617"/>
                <a:gd name="connsiteY1" fmla="*/ 268773 h 699712"/>
                <a:gd name="connsiteX2" fmla="*/ 0 w 954617"/>
                <a:gd name="connsiteY2" fmla="*/ 699712 h 699712"/>
                <a:gd name="connsiteX3" fmla="*/ 0 w 954617"/>
                <a:gd name="connsiteY3" fmla="*/ 489 h 699712"/>
                <a:gd name="connsiteX0" fmla="*/ 0 w 954617"/>
                <a:gd name="connsiteY0" fmla="*/ 489 h 699712"/>
                <a:gd name="connsiteX1" fmla="*/ 954617 w 954617"/>
                <a:gd name="connsiteY1" fmla="*/ 268773 h 699712"/>
                <a:gd name="connsiteX0" fmla="*/ 0 w 954617"/>
                <a:gd name="connsiteY0" fmla="*/ 437 h 699660"/>
                <a:gd name="connsiteX1" fmla="*/ 954617 w 954617"/>
                <a:gd name="connsiteY1" fmla="*/ 268721 h 699660"/>
                <a:gd name="connsiteX2" fmla="*/ 0 w 954617"/>
                <a:gd name="connsiteY2" fmla="*/ 699660 h 699660"/>
                <a:gd name="connsiteX3" fmla="*/ 0 w 954617"/>
                <a:gd name="connsiteY3" fmla="*/ 437 h 699660"/>
                <a:gd name="connsiteX0" fmla="*/ 0 w 954617"/>
                <a:gd name="connsiteY0" fmla="*/ 437 h 699660"/>
                <a:gd name="connsiteX1" fmla="*/ 954617 w 954617"/>
                <a:gd name="connsiteY1" fmla="*/ 268721 h 699660"/>
                <a:gd name="connsiteX0" fmla="*/ 0 w 954617"/>
                <a:gd name="connsiteY0" fmla="*/ 298 h 699521"/>
                <a:gd name="connsiteX1" fmla="*/ 954617 w 954617"/>
                <a:gd name="connsiteY1" fmla="*/ 268582 h 699521"/>
                <a:gd name="connsiteX2" fmla="*/ 0 w 954617"/>
                <a:gd name="connsiteY2" fmla="*/ 699521 h 699521"/>
                <a:gd name="connsiteX3" fmla="*/ 0 w 954617"/>
                <a:gd name="connsiteY3" fmla="*/ 298 h 699521"/>
                <a:gd name="connsiteX0" fmla="*/ 0 w 954617"/>
                <a:gd name="connsiteY0" fmla="*/ 298 h 699521"/>
                <a:gd name="connsiteX1" fmla="*/ 954617 w 954617"/>
                <a:gd name="connsiteY1" fmla="*/ 268582 h 699521"/>
                <a:gd name="connsiteX0" fmla="*/ 0 w 954617"/>
                <a:gd name="connsiteY0" fmla="*/ 194 h 699417"/>
                <a:gd name="connsiteX1" fmla="*/ 954617 w 954617"/>
                <a:gd name="connsiteY1" fmla="*/ 268478 h 699417"/>
                <a:gd name="connsiteX2" fmla="*/ 0 w 954617"/>
                <a:gd name="connsiteY2" fmla="*/ 699417 h 699417"/>
                <a:gd name="connsiteX3" fmla="*/ 0 w 954617"/>
                <a:gd name="connsiteY3" fmla="*/ 194 h 699417"/>
                <a:gd name="connsiteX0" fmla="*/ 0 w 954617"/>
                <a:gd name="connsiteY0" fmla="*/ 194 h 699417"/>
                <a:gd name="connsiteX1" fmla="*/ 954617 w 954617"/>
                <a:gd name="connsiteY1" fmla="*/ 268478 h 699417"/>
                <a:gd name="connsiteX0" fmla="*/ 0 w 954617"/>
                <a:gd name="connsiteY0" fmla="*/ 4587 h 703810"/>
                <a:gd name="connsiteX1" fmla="*/ 954617 w 954617"/>
                <a:gd name="connsiteY1" fmla="*/ 272871 h 703810"/>
                <a:gd name="connsiteX2" fmla="*/ 0 w 954617"/>
                <a:gd name="connsiteY2" fmla="*/ 703810 h 703810"/>
                <a:gd name="connsiteX3" fmla="*/ 0 w 954617"/>
                <a:gd name="connsiteY3" fmla="*/ 4587 h 703810"/>
                <a:gd name="connsiteX0" fmla="*/ 0 w 954617"/>
                <a:gd name="connsiteY0" fmla="*/ 4587 h 703810"/>
                <a:gd name="connsiteX1" fmla="*/ 954617 w 954617"/>
                <a:gd name="connsiteY1" fmla="*/ 272871 h 703810"/>
                <a:gd name="connsiteX0" fmla="*/ 0 w 954617"/>
                <a:gd name="connsiteY0" fmla="*/ 6926 h 706149"/>
                <a:gd name="connsiteX1" fmla="*/ 954617 w 954617"/>
                <a:gd name="connsiteY1" fmla="*/ 275210 h 706149"/>
                <a:gd name="connsiteX2" fmla="*/ 0 w 954617"/>
                <a:gd name="connsiteY2" fmla="*/ 706149 h 706149"/>
                <a:gd name="connsiteX3" fmla="*/ 0 w 954617"/>
                <a:gd name="connsiteY3" fmla="*/ 6926 h 706149"/>
                <a:gd name="connsiteX0" fmla="*/ 0 w 954617"/>
                <a:gd name="connsiteY0" fmla="*/ 6926 h 706149"/>
                <a:gd name="connsiteX1" fmla="*/ 954617 w 954617"/>
                <a:gd name="connsiteY1" fmla="*/ 275210 h 706149"/>
                <a:gd name="connsiteX0" fmla="*/ 0 w 954617"/>
                <a:gd name="connsiteY0" fmla="*/ 8297 h 707520"/>
                <a:gd name="connsiteX1" fmla="*/ 954617 w 954617"/>
                <a:gd name="connsiteY1" fmla="*/ 276581 h 707520"/>
                <a:gd name="connsiteX2" fmla="*/ 0 w 954617"/>
                <a:gd name="connsiteY2" fmla="*/ 707520 h 707520"/>
                <a:gd name="connsiteX3" fmla="*/ 0 w 954617"/>
                <a:gd name="connsiteY3" fmla="*/ 8297 h 707520"/>
                <a:gd name="connsiteX0" fmla="*/ 0 w 954617"/>
                <a:gd name="connsiteY0" fmla="*/ 8297 h 707520"/>
                <a:gd name="connsiteX1" fmla="*/ 954617 w 954617"/>
                <a:gd name="connsiteY1" fmla="*/ 276581 h 707520"/>
                <a:gd name="connsiteX0" fmla="*/ 0 w 954617"/>
                <a:gd name="connsiteY0" fmla="*/ 8407 h 707630"/>
                <a:gd name="connsiteX1" fmla="*/ 954617 w 954617"/>
                <a:gd name="connsiteY1" fmla="*/ 276691 h 707630"/>
                <a:gd name="connsiteX2" fmla="*/ 0 w 954617"/>
                <a:gd name="connsiteY2" fmla="*/ 707630 h 707630"/>
                <a:gd name="connsiteX3" fmla="*/ 0 w 954617"/>
                <a:gd name="connsiteY3" fmla="*/ 8407 h 707630"/>
                <a:gd name="connsiteX0" fmla="*/ 0 w 954617"/>
                <a:gd name="connsiteY0" fmla="*/ 8407 h 707630"/>
                <a:gd name="connsiteX1" fmla="*/ 954617 w 954617"/>
                <a:gd name="connsiteY1" fmla="*/ 276691 h 707630"/>
                <a:gd name="connsiteX0" fmla="*/ 0 w 954617"/>
                <a:gd name="connsiteY0" fmla="*/ 8407 h 707630"/>
                <a:gd name="connsiteX1" fmla="*/ 954617 w 954617"/>
                <a:gd name="connsiteY1" fmla="*/ 276691 h 707630"/>
                <a:gd name="connsiteX2" fmla="*/ 0 w 954617"/>
                <a:gd name="connsiteY2" fmla="*/ 707630 h 707630"/>
                <a:gd name="connsiteX3" fmla="*/ 0 w 954617"/>
                <a:gd name="connsiteY3" fmla="*/ 8407 h 707630"/>
                <a:gd name="connsiteX0" fmla="*/ 0 w 954617"/>
                <a:gd name="connsiteY0" fmla="*/ 8407 h 707630"/>
                <a:gd name="connsiteX1" fmla="*/ 948622 w 954617"/>
                <a:gd name="connsiteY1" fmla="*/ 278783 h 707630"/>
                <a:gd name="connsiteX0" fmla="*/ 0 w 954617"/>
                <a:gd name="connsiteY0" fmla="*/ 8407 h 707630"/>
                <a:gd name="connsiteX1" fmla="*/ 954617 w 954617"/>
                <a:gd name="connsiteY1" fmla="*/ 276691 h 707630"/>
                <a:gd name="connsiteX2" fmla="*/ 0 w 954617"/>
                <a:gd name="connsiteY2" fmla="*/ 707630 h 707630"/>
                <a:gd name="connsiteX3" fmla="*/ 0 w 954617"/>
                <a:gd name="connsiteY3" fmla="*/ 8407 h 707630"/>
                <a:gd name="connsiteX0" fmla="*/ 0 w 954617"/>
                <a:gd name="connsiteY0" fmla="*/ 8407 h 707630"/>
                <a:gd name="connsiteX1" fmla="*/ 954617 w 954617"/>
                <a:gd name="connsiteY1" fmla="*/ 276692 h 707630"/>
                <a:gd name="connsiteX0" fmla="*/ 0 w 954617"/>
                <a:gd name="connsiteY0" fmla="*/ 8407 h 707630"/>
                <a:gd name="connsiteX1" fmla="*/ 954617 w 954617"/>
                <a:gd name="connsiteY1" fmla="*/ 276691 h 707630"/>
                <a:gd name="connsiteX2" fmla="*/ 0 w 954617"/>
                <a:gd name="connsiteY2" fmla="*/ 707630 h 707630"/>
                <a:gd name="connsiteX3" fmla="*/ 0 w 954617"/>
                <a:gd name="connsiteY3" fmla="*/ 8407 h 707630"/>
                <a:gd name="connsiteX0" fmla="*/ 0 w 954617"/>
                <a:gd name="connsiteY0" fmla="*/ 8407 h 707630"/>
                <a:gd name="connsiteX1" fmla="*/ 949668 w 954617"/>
                <a:gd name="connsiteY1" fmla="*/ 281781 h 707630"/>
                <a:gd name="connsiteX0" fmla="*/ 0 w 954617"/>
                <a:gd name="connsiteY0" fmla="*/ 8407 h 707630"/>
                <a:gd name="connsiteX1" fmla="*/ 954617 w 954617"/>
                <a:gd name="connsiteY1" fmla="*/ 276691 h 707630"/>
                <a:gd name="connsiteX2" fmla="*/ 0 w 954617"/>
                <a:gd name="connsiteY2" fmla="*/ 707630 h 707630"/>
                <a:gd name="connsiteX3" fmla="*/ 0 w 954617"/>
                <a:gd name="connsiteY3" fmla="*/ 8407 h 707630"/>
                <a:gd name="connsiteX0" fmla="*/ 0 w 954617"/>
                <a:gd name="connsiteY0" fmla="*/ 8407 h 707630"/>
                <a:gd name="connsiteX1" fmla="*/ 952666 w 954617"/>
                <a:gd name="connsiteY1" fmla="*/ 280735 h 707630"/>
                <a:gd name="connsiteX0" fmla="*/ 0 w 954617"/>
                <a:gd name="connsiteY0" fmla="*/ 3989 h 703212"/>
                <a:gd name="connsiteX1" fmla="*/ 954617 w 954617"/>
                <a:gd name="connsiteY1" fmla="*/ 272273 h 703212"/>
                <a:gd name="connsiteX2" fmla="*/ 0 w 954617"/>
                <a:gd name="connsiteY2" fmla="*/ 703212 h 703212"/>
                <a:gd name="connsiteX3" fmla="*/ 0 w 954617"/>
                <a:gd name="connsiteY3" fmla="*/ 3989 h 703212"/>
                <a:gd name="connsiteX0" fmla="*/ 0 w 954617"/>
                <a:gd name="connsiteY0" fmla="*/ 3989 h 703212"/>
                <a:gd name="connsiteX1" fmla="*/ 952666 w 954617"/>
                <a:gd name="connsiteY1" fmla="*/ 276317 h 703212"/>
                <a:gd name="connsiteX0" fmla="*/ 0 w 954617"/>
                <a:gd name="connsiteY0" fmla="*/ 3989 h 703212"/>
                <a:gd name="connsiteX1" fmla="*/ 954617 w 954617"/>
                <a:gd name="connsiteY1" fmla="*/ 272273 h 703212"/>
                <a:gd name="connsiteX2" fmla="*/ 0 w 954617"/>
                <a:gd name="connsiteY2" fmla="*/ 703212 h 703212"/>
                <a:gd name="connsiteX3" fmla="*/ 0 w 954617"/>
                <a:gd name="connsiteY3" fmla="*/ 3989 h 703212"/>
                <a:gd name="connsiteX0" fmla="*/ 0 w 954617"/>
                <a:gd name="connsiteY0" fmla="*/ 3989 h 703212"/>
                <a:gd name="connsiteX1" fmla="*/ 950575 w 954617"/>
                <a:gd name="connsiteY1" fmla="*/ 270322 h 703212"/>
                <a:gd name="connsiteX0" fmla="*/ 0 w 956710"/>
                <a:gd name="connsiteY0" fmla="*/ 3989 h 703212"/>
                <a:gd name="connsiteX1" fmla="*/ 954617 w 956710"/>
                <a:gd name="connsiteY1" fmla="*/ 272273 h 703212"/>
                <a:gd name="connsiteX2" fmla="*/ 0 w 956710"/>
                <a:gd name="connsiteY2" fmla="*/ 703212 h 703212"/>
                <a:gd name="connsiteX3" fmla="*/ 0 w 956710"/>
                <a:gd name="connsiteY3" fmla="*/ 3989 h 703212"/>
                <a:gd name="connsiteX0" fmla="*/ 0 w 956710"/>
                <a:gd name="connsiteY0" fmla="*/ 3989 h 703212"/>
                <a:gd name="connsiteX1" fmla="*/ 956710 w 956710"/>
                <a:gd name="connsiteY1" fmla="*/ 278270 h 703212"/>
                <a:gd name="connsiteX0" fmla="*/ 0 w 956710"/>
                <a:gd name="connsiteY0" fmla="*/ 3989 h 703212"/>
                <a:gd name="connsiteX1" fmla="*/ 954617 w 956710"/>
                <a:gd name="connsiteY1" fmla="*/ 272273 h 703212"/>
                <a:gd name="connsiteX2" fmla="*/ 0 w 956710"/>
                <a:gd name="connsiteY2" fmla="*/ 703212 h 703212"/>
                <a:gd name="connsiteX3" fmla="*/ 0 w 956710"/>
                <a:gd name="connsiteY3" fmla="*/ 3989 h 703212"/>
                <a:gd name="connsiteX0" fmla="*/ 0 w 956710"/>
                <a:gd name="connsiteY0" fmla="*/ 3989 h 703212"/>
                <a:gd name="connsiteX1" fmla="*/ 956710 w 956710"/>
                <a:gd name="connsiteY1" fmla="*/ 278270 h 703212"/>
                <a:gd name="connsiteX0" fmla="*/ 0 w 956710"/>
                <a:gd name="connsiteY0" fmla="*/ 3989 h 703212"/>
                <a:gd name="connsiteX1" fmla="*/ 954617 w 956710"/>
                <a:gd name="connsiteY1" fmla="*/ 272273 h 703212"/>
                <a:gd name="connsiteX2" fmla="*/ 0 w 956710"/>
                <a:gd name="connsiteY2" fmla="*/ 703212 h 703212"/>
                <a:gd name="connsiteX3" fmla="*/ 0 w 956710"/>
                <a:gd name="connsiteY3" fmla="*/ 3989 h 703212"/>
                <a:gd name="connsiteX0" fmla="*/ 0 w 956710"/>
                <a:gd name="connsiteY0" fmla="*/ 3989 h 703212"/>
                <a:gd name="connsiteX1" fmla="*/ 956710 w 956710"/>
                <a:gd name="connsiteY1" fmla="*/ 278270 h 703212"/>
                <a:gd name="connsiteX0" fmla="*/ 0 w 956710"/>
                <a:gd name="connsiteY0" fmla="*/ 5052 h 704275"/>
                <a:gd name="connsiteX1" fmla="*/ 954617 w 956710"/>
                <a:gd name="connsiteY1" fmla="*/ 273336 h 704275"/>
                <a:gd name="connsiteX2" fmla="*/ 0 w 956710"/>
                <a:gd name="connsiteY2" fmla="*/ 704275 h 704275"/>
                <a:gd name="connsiteX3" fmla="*/ 0 w 956710"/>
                <a:gd name="connsiteY3" fmla="*/ 5052 h 704275"/>
                <a:gd name="connsiteX0" fmla="*/ 0 w 956710"/>
                <a:gd name="connsiteY0" fmla="*/ 5052 h 704275"/>
                <a:gd name="connsiteX1" fmla="*/ 956710 w 956710"/>
                <a:gd name="connsiteY1" fmla="*/ 279333 h 704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6710" h="704275" stroke="0" extrusionOk="0">
                  <a:moveTo>
                    <a:pt x="0" y="5052"/>
                  </a:moveTo>
                  <a:cubicBezTo>
                    <a:pt x="379417" y="-24160"/>
                    <a:pt x="617010" y="74362"/>
                    <a:pt x="954617" y="273336"/>
                  </a:cubicBezTo>
                  <a:lnTo>
                    <a:pt x="0" y="704275"/>
                  </a:lnTo>
                  <a:lnTo>
                    <a:pt x="0" y="5052"/>
                  </a:lnTo>
                  <a:close/>
                </a:path>
                <a:path w="956710" h="704275" fill="none">
                  <a:moveTo>
                    <a:pt x="0" y="5052"/>
                  </a:moveTo>
                  <a:cubicBezTo>
                    <a:pt x="372796" y="5052"/>
                    <a:pt x="690559" y="92422"/>
                    <a:pt x="956710" y="279333"/>
                  </a:cubicBezTo>
                </a:path>
              </a:pathLst>
            </a:custGeom>
            <a:ln w="63500">
              <a:solidFill>
                <a:schemeClr val="accent2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sv-SE" sz="2400"/>
            </a:p>
          </p:txBody>
        </p:sp>
      </p:grpSp>
      <p:sp>
        <p:nvSpPr>
          <p:cNvPr id="6" name="Platshållare för datum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CB8CA-2A3C-4031-8C02-A1EA9A5F0249}" type="datetime1">
              <a:rPr lang="sv-SE" smtClean="0"/>
              <a:t>2023-12-11</a:t>
            </a:fld>
            <a:endParaRPr lang="sv-SE"/>
          </a:p>
        </p:txBody>
      </p:sp>
      <p:sp>
        <p:nvSpPr>
          <p:cNvPr id="10" name="Platshållare för sidfo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idfotstext (ändras under Meny Infoga och knappen Sidhuvud/Sidfot)</a:t>
            </a:r>
          </a:p>
        </p:txBody>
      </p:sp>
      <p:sp>
        <p:nvSpPr>
          <p:cNvPr id="11" name="Platshållare för bild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780649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tis rubrik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3145367" y="1344000"/>
            <a:ext cx="5901267" cy="3504000"/>
          </a:xfrm>
        </p:spPr>
        <p:txBody>
          <a:bodyPr lIns="180000" tIns="180000" rIns="180000" bIns="180000" anchor="ctr"/>
          <a:lstStyle>
            <a:lvl1pPr algn="ctr">
              <a:lnSpc>
                <a:spcPct val="80000"/>
              </a:lnSpc>
              <a:defRPr sz="5333" kern="0" spc="-107" baseline="0"/>
            </a:lvl1pPr>
          </a:lstStyle>
          <a:p>
            <a:r>
              <a:rPr lang="sv-SE"/>
              <a:t>Lägg till rubrik</a:t>
            </a:r>
          </a:p>
        </p:txBody>
      </p:sp>
      <p:grpSp>
        <p:nvGrpSpPr>
          <p:cNvPr id="7" name="Grupp 6"/>
          <p:cNvGrpSpPr/>
          <p:nvPr userDrawn="1"/>
        </p:nvGrpSpPr>
        <p:grpSpPr>
          <a:xfrm>
            <a:off x="3216001" y="1264749"/>
            <a:ext cx="5762212" cy="4228540"/>
            <a:chOff x="2412000" y="1095795"/>
            <a:chExt cx="4321659" cy="3171405"/>
          </a:xfrm>
        </p:grpSpPr>
        <p:sp>
          <p:nvSpPr>
            <p:cNvPr id="8" name="Frihandsfigur 7"/>
            <p:cNvSpPr/>
            <p:nvPr/>
          </p:nvSpPr>
          <p:spPr>
            <a:xfrm rot="10800000">
              <a:off x="2412000" y="1114424"/>
              <a:ext cx="4320000" cy="3152776"/>
            </a:xfrm>
            <a:custGeom>
              <a:avLst/>
              <a:gdLst>
                <a:gd name="connsiteX0" fmla="*/ 3011900 w 4320000"/>
                <a:gd name="connsiteY0" fmla="*/ 3152776 h 3152776"/>
                <a:gd name="connsiteX1" fmla="*/ 1308100 w 4320000"/>
                <a:gd name="connsiteY1" fmla="*/ 3152776 h 3152776"/>
                <a:gd name="connsiteX2" fmla="*/ 0 w 4320000"/>
                <a:gd name="connsiteY2" fmla="*/ 1844676 h 3152776"/>
                <a:gd name="connsiteX3" fmla="*/ 1308100 w 4320000"/>
                <a:gd name="connsiteY3" fmla="*/ 536576 h 3152776"/>
                <a:gd name="connsiteX4" fmla="*/ 1769475 w 4320000"/>
                <a:gd name="connsiteY4" fmla="*/ 536576 h 3152776"/>
                <a:gd name="connsiteX5" fmla="*/ 1769475 w 4320000"/>
                <a:gd name="connsiteY5" fmla="*/ 0 h 3152776"/>
                <a:gd name="connsiteX6" fmla="*/ 2429228 w 4320000"/>
                <a:gd name="connsiteY6" fmla="*/ 536576 h 3152776"/>
                <a:gd name="connsiteX7" fmla="*/ 3011900 w 4320000"/>
                <a:gd name="connsiteY7" fmla="*/ 536576 h 3152776"/>
                <a:gd name="connsiteX8" fmla="*/ 4320000 w 4320000"/>
                <a:gd name="connsiteY8" fmla="*/ 1844676 h 3152776"/>
                <a:gd name="connsiteX9" fmla="*/ 3011900 w 4320000"/>
                <a:gd name="connsiteY9" fmla="*/ 3152776 h 3152776"/>
                <a:gd name="connsiteX0" fmla="*/ 1769475 w 4320000"/>
                <a:gd name="connsiteY0" fmla="*/ 536576 h 3152776"/>
                <a:gd name="connsiteX1" fmla="*/ 1769475 w 4320000"/>
                <a:gd name="connsiteY1" fmla="*/ 0 h 3152776"/>
                <a:gd name="connsiteX2" fmla="*/ 2429228 w 4320000"/>
                <a:gd name="connsiteY2" fmla="*/ 536576 h 3152776"/>
                <a:gd name="connsiteX3" fmla="*/ 3011900 w 4320000"/>
                <a:gd name="connsiteY3" fmla="*/ 536576 h 3152776"/>
                <a:gd name="connsiteX4" fmla="*/ 4320000 w 4320000"/>
                <a:gd name="connsiteY4" fmla="*/ 1844676 h 3152776"/>
                <a:gd name="connsiteX5" fmla="*/ 3011900 w 4320000"/>
                <a:gd name="connsiteY5" fmla="*/ 3152776 h 3152776"/>
                <a:gd name="connsiteX6" fmla="*/ 1308100 w 4320000"/>
                <a:gd name="connsiteY6" fmla="*/ 3152776 h 3152776"/>
                <a:gd name="connsiteX7" fmla="*/ 0 w 4320000"/>
                <a:gd name="connsiteY7" fmla="*/ 1844676 h 3152776"/>
                <a:gd name="connsiteX8" fmla="*/ 1308100 w 4320000"/>
                <a:gd name="connsiteY8" fmla="*/ 536576 h 3152776"/>
                <a:gd name="connsiteX9" fmla="*/ 1860915 w 4320000"/>
                <a:gd name="connsiteY9" fmla="*/ 628016 h 3152776"/>
                <a:gd name="connsiteX0" fmla="*/ 1769475 w 4320000"/>
                <a:gd name="connsiteY0" fmla="*/ 536576 h 3152776"/>
                <a:gd name="connsiteX1" fmla="*/ 1769475 w 4320000"/>
                <a:gd name="connsiteY1" fmla="*/ 0 h 3152776"/>
                <a:gd name="connsiteX2" fmla="*/ 2429228 w 4320000"/>
                <a:gd name="connsiteY2" fmla="*/ 536576 h 3152776"/>
                <a:gd name="connsiteX3" fmla="*/ 3011900 w 4320000"/>
                <a:gd name="connsiteY3" fmla="*/ 536576 h 3152776"/>
                <a:gd name="connsiteX4" fmla="*/ 4320000 w 4320000"/>
                <a:gd name="connsiteY4" fmla="*/ 1844676 h 3152776"/>
                <a:gd name="connsiteX5" fmla="*/ 3011900 w 4320000"/>
                <a:gd name="connsiteY5" fmla="*/ 3152776 h 3152776"/>
                <a:gd name="connsiteX6" fmla="*/ 1308100 w 4320000"/>
                <a:gd name="connsiteY6" fmla="*/ 3152776 h 3152776"/>
                <a:gd name="connsiteX7" fmla="*/ 0 w 4320000"/>
                <a:gd name="connsiteY7" fmla="*/ 1844676 h 3152776"/>
                <a:gd name="connsiteX8" fmla="*/ 1308100 w 4320000"/>
                <a:gd name="connsiteY8" fmla="*/ 536576 h 3152776"/>
                <a:gd name="connsiteX9" fmla="*/ 1594215 w 4320000"/>
                <a:gd name="connsiteY9" fmla="*/ 532766 h 3152776"/>
                <a:gd name="connsiteX0" fmla="*/ 1769475 w 4320000"/>
                <a:gd name="connsiteY0" fmla="*/ 536576 h 3152776"/>
                <a:gd name="connsiteX1" fmla="*/ 1769475 w 4320000"/>
                <a:gd name="connsiteY1" fmla="*/ 0 h 3152776"/>
                <a:gd name="connsiteX2" fmla="*/ 2429228 w 4320000"/>
                <a:gd name="connsiteY2" fmla="*/ 536576 h 3152776"/>
                <a:gd name="connsiteX3" fmla="*/ 3011900 w 4320000"/>
                <a:gd name="connsiteY3" fmla="*/ 536576 h 3152776"/>
                <a:gd name="connsiteX4" fmla="*/ 4320000 w 4320000"/>
                <a:gd name="connsiteY4" fmla="*/ 1844676 h 3152776"/>
                <a:gd name="connsiteX5" fmla="*/ 3011900 w 4320000"/>
                <a:gd name="connsiteY5" fmla="*/ 3152776 h 3152776"/>
                <a:gd name="connsiteX6" fmla="*/ 1308100 w 4320000"/>
                <a:gd name="connsiteY6" fmla="*/ 3152776 h 3152776"/>
                <a:gd name="connsiteX7" fmla="*/ 0 w 4320000"/>
                <a:gd name="connsiteY7" fmla="*/ 1844676 h 3152776"/>
                <a:gd name="connsiteX8" fmla="*/ 1308100 w 4320000"/>
                <a:gd name="connsiteY8" fmla="*/ 536576 h 3152776"/>
                <a:gd name="connsiteX9" fmla="*/ 1575165 w 4320000"/>
                <a:gd name="connsiteY9" fmla="*/ 539116 h 3152776"/>
                <a:gd name="connsiteX0" fmla="*/ 1769475 w 4320000"/>
                <a:gd name="connsiteY0" fmla="*/ 536576 h 3152776"/>
                <a:gd name="connsiteX1" fmla="*/ 1769475 w 4320000"/>
                <a:gd name="connsiteY1" fmla="*/ 0 h 3152776"/>
                <a:gd name="connsiteX2" fmla="*/ 2429228 w 4320000"/>
                <a:gd name="connsiteY2" fmla="*/ 536576 h 3152776"/>
                <a:gd name="connsiteX3" fmla="*/ 3011900 w 4320000"/>
                <a:gd name="connsiteY3" fmla="*/ 536576 h 3152776"/>
                <a:gd name="connsiteX4" fmla="*/ 4320000 w 4320000"/>
                <a:gd name="connsiteY4" fmla="*/ 1844676 h 3152776"/>
                <a:gd name="connsiteX5" fmla="*/ 3011900 w 4320000"/>
                <a:gd name="connsiteY5" fmla="*/ 3152776 h 3152776"/>
                <a:gd name="connsiteX6" fmla="*/ 1308100 w 4320000"/>
                <a:gd name="connsiteY6" fmla="*/ 3152776 h 3152776"/>
                <a:gd name="connsiteX7" fmla="*/ 0 w 4320000"/>
                <a:gd name="connsiteY7" fmla="*/ 1844676 h 3152776"/>
                <a:gd name="connsiteX8" fmla="*/ 1308100 w 4320000"/>
                <a:gd name="connsiteY8" fmla="*/ 536576 h 3152776"/>
                <a:gd name="connsiteX9" fmla="*/ 1575165 w 4320000"/>
                <a:gd name="connsiteY9" fmla="*/ 535941 h 3152776"/>
                <a:gd name="connsiteX0" fmla="*/ 1769475 w 4320000"/>
                <a:gd name="connsiteY0" fmla="*/ 577851 h 3152776"/>
                <a:gd name="connsiteX1" fmla="*/ 1769475 w 4320000"/>
                <a:gd name="connsiteY1" fmla="*/ 0 h 3152776"/>
                <a:gd name="connsiteX2" fmla="*/ 2429228 w 4320000"/>
                <a:gd name="connsiteY2" fmla="*/ 536576 h 3152776"/>
                <a:gd name="connsiteX3" fmla="*/ 3011900 w 4320000"/>
                <a:gd name="connsiteY3" fmla="*/ 536576 h 3152776"/>
                <a:gd name="connsiteX4" fmla="*/ 4320000 w 4320000"/>
                <a:gd name="connsiteY4" fmla="*/ 1844676 h 3152776"/>
                <a:gd name="connsiteX5" fmla="*/ 3011900 w 4320000"/>
                <a:gd name="connsiteY5" fmla="*/ 3152776 h 3152776"/>
                <a:gd name="connsiteX6" fmla="*/ 1308100 w 4320000"/>
                <a:gd name="connsiteY6" fmla="*/ 3152776 h 3152776"/>
                <a:gd name="connsiteX7" fmla="*/ 0 w 4320000"/>
                <a:gd name="connsiteY7" fmla="*/ 1844676 h 3152776"/>
                <a:gd name="connsiteX8" fmla="*/ 1308100 w 4320000"/>
                <a:gd name="connsiteY8" fmla="*/ 536576 h 3152776"/>
                <a:gd name="connsiteX9" fmla="*/ 1575165 w 4320000"/>
                <a:gd name="connsiteY9" fmla="*/ 535941 h 3152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20000" h="3152776">
                  <a:moveTo>
                    <a:pt x="1769475" y="577851"/>
                  </a:moveTo>
                  <a:lnTo>
                    <a:pt x="1769475" y="0"/>
                  </a:lnTo>
                  <a:lnTo>
                    <a:pt x="2429228" y="536576"/>
                  </a:lnTo>
                  <a:lnTo>
                    <a:pt x="3011900" y="536576"/>
                  </a:lnTo>
                  <a:cubicBezTo>
                    <a:pt x="3734344" y="536576"/>
                    <a:pt x="4320000" y="1122232"/>
                    <a:pt x="4320000" y="1844676"/>
                  </a:cubicBezTo>
                  <a:cubicBezTo>
                    <a:pt x="4320000" y="2567120"/>
                    <a:pt x="3734344" y="3152776"/>
                    <a:pt x="3011900" y="3152776"/>
                  </a:cubicBezTo>
                  <a:lnTo>
                    <a:pt x="1308100" y="3152776"/>
                  </a:lnTo>
                  <a:cubicBezTo>
                    <a:pt x="585656" y="3152776"/>
                    <a:pt x="0" y="2567120"/>
                    <a:pt x="0" y="1844676"/>
                  </a:cubicBezTo>
                  <a:cubicBezTo>
                    <a:pt x="0" y="1122232"/>
                    <a:pt x="585656" y="536576"/>
                    <a:pt x="1308100" y="536576"/>
                  </a:cubicBezTo>
                  <a:lnTo>
                    <a:pt x="1575165" y="535941"/>
                  </a:lnTo>
                </a:path>
              </a:pathLst>
            </a:custGeom>
            <a:noFill/>
            <a:ln w="63500">
              <a:solidFill>
                <a:schemeClr val="accent1"/>
              </a:solidFill>
              <a:miter lim="800000"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2400"/>
            </a:p>
          </p:txBody>
        </p:sp>
        <p:sp>
          <p:nvSpPr>
            <p:cNvPr id="9" name="Båge 13"/>
            <p:cNvSpPr/>
            <p:nvPr/>
          </p:nvSpPr>
          <p:spPr>
            <a:xfrm rot="1153800">
              <a:off x="5776949" y="1095795"/>
              <a:ext cx="956710" cy="704275"/>
            </a:xfrm>
            <a:custGeom>
              <a:avLst/>
              <a:gdLst>
                <a:gd name="connsiteX0" fmla="*/ 1212208 w 2424415"/>
                <a:gd name="connsiteY0" fmla="*/ 0 h 1398446"/>
                <a:gd name="connsiteX1" fmla="*/ 2166825 w 2424415"/>
                <a:gd name="connsiteY1" fmla="*/ 268284 h 1398446"/>
                <a:gd name="connsiteX2" fmla="*/ 1212208 w 2424415"/>
                <a:gd name="connsiteY2" fmla="*/ 699223 h 1398446"/>
                <a:gd name="connsiteX3" fmla="*/ 1212208 w 2424415"/>
                <a:gd name="connsiteY3" fmla="*/ 0 h 1398446"/>
                <a:gd name="connsiteX0" fmla="*/ 1212208 w 2424415"/>
                <a:gd name="connsiteY0" fmla="*/ 0 h 1398446"/>
                <a:gd name="connsiteX1" fmla="*/ 2166825 w 2424415"/>
                <a:gd name="connsiteY1" fmla="*/ 268284 h 1398446"/>
                <a:gd name="connsiteX0" fmla="*/ 0 w 954617"/>
                <a:gd name="connsiteY0" fmla="*/ 1354 h 700577"/>
                <a:gd name="connsiteX1" fmla="*/ 954617 w 954617"/>
                <a:gd name="connsiteY1" fmla="*/ 269638 h 700577"/>
                <a:gd name="connsiteX2" fmla="*/ 0 w 954617"/>
                <a:gd name="connsiteY2" fmla="*/ 700577 h 700577"/>
                <a:gd name="connsiteX3" fmla="*/ 0 w 954617"/>
                <a:gd name="connsiteY3" fmla="*/ 1354 h 700577"/>
                <a:gd name="connsiteX0" fmla="*/ 0 w 954617"/>
                <a:gd name="connsiteY0" fmla="*/ 1354 h 700577"/>
                <a:gd name="connsiteX1" fmla="*/ 954617 w 954617"/>
                <a:gd name="connsiteY1" fmla="*/ 269638 h 700577"/>
                <a:gd name="connsiteX0" fmla="*/ 0 w 954617"/>
                <a:gd name="connsiteY0" fmla="*/ 2520 h 701743"/>
                <a:gd name="connsiteX1" fmla="*/ 954617 w 954617"/>
                <a:gd name="connsiteY1" fmla="*/ 270804 h 701743"/>
                <a:gd name="connsiteX2" fmla="*/ 0 w 954617"/>
                <a:gd name="connsiteY2" fmla="*/ 701743 h 701743"/>
                <a:gd name="connsiteX3" fmla="*/ 0 w 954617"/>
                <a:gd name="connsiteY3" fmla="*/ 2520 h 701743"/>
                <a:gd name="connsiteX0" fmla="*/ 0 w 954617"/>
                <a:gd name="connsiteY0" fmla="*/ 2520 h 701743"/>
                <a:gd name="connsiteX1" fmla="*/ 954617 w 954617"/>
                <a:gd name="connsiteY1" fmla="*/ 270804 h 701743"/>
                <a:gd name="connsiteX0" fmla="*/ 0 w 954617"/>
                <a:gd name="connsiteY0" fmla="*/ 2674 h 701897"/>
                <a:gd name="connsiteX1" fmla="*/ 954617 w 954617"/>
                <a:gd name="connsiteY1" fmla="*/ 270958 h 701897"/>
                <a:gd name="connsiteX2" fmla="*/ 0 w 954617"/>
                <a:gd name="connsiteY2" fmla="*/ 701897 h 701897"/>
                <a:gd name="connsiteX3" fmla="*/ 0 w 954617"/>
                <a:gd name="connsiteY3" fmla="*/ 2674 h 701897"/>
                <a:gd name="connsiteX0" fmla="*/ 0 w 954617"/>
                <a:gd name="connsiteY0" fmla="*/ 2674 h 701897"/>
                <a:gd name="connsiteX1" fmla="*/ 954617 w 954617"/>
                <a:gd name="connsiteY1" fmla="*/ 270958 h 701897"/>
                <a:gd name="connsiteX0" fmla="*/ 0 w 954617"/>
                <a:gd name="connsiteY0" fmla="*/ 2848 h 702071"/>
                <a:gd name="connsiteX1" fmla="*/ 954617 w 954617"/>
                <a:gd name="connsiteY1" fmla="*/ 271132 h 702071"/>
                <a:gd name="connsiteX2" fmla="*/ 0 w 954617"/>
                <a:gd name="connsiteY2" fmla="*/ 702071 h 702071"/>
                <a:gd name="connsiteX3" fmla="*/ 0 w 954617"/>
                <a:gd name="connsiteY3" fmla="*/ 2848 h 702071"/>
                <a:gd name="connsiteX0" fmla="*/ 0 w 954617"/>
                <a:gd name="connsiteY0" fmla="*/ 2848 h 702071"/>
                <a:gd name="connsiteX1" fmla="*/ 954617 w 954617"/>
                <a:gd name="connsiteY1" fmla="*/ 271132 h 702071"/>
                <a:gd name="connsiteX0" fmla="*/ 0 w 954617"/>
                <a:gd name="connsiteY0" fmla="*/ 3088 h 702311"/>
                <a:gd name="connsiteX1" fmla="*/ 954617 w 954617"/>
                <a:gd name="connsiteY1" fmla="*/ 271372 h 702311"/>
                <a:gd name="connsiteX2" fmla="*/ 0 w 954617"/>
                <a:gd name="connsiteY2" fmla="*/ 702311 h 702311"/>
                <a:gd name="connsiteX3" fmla="*/ 0 w 954617"/>
                <a:gd name="connsiteY3" fmla="*/ 3088 h 702311"/>
                <a:gd name="connsiteX0" fmla="*/ 0 w 954617"/>
                <a:gd name="connsiteY0" fmla="*/ 3088 h 702311"/>
                <a:gd name="connsiteX1" fmla="*/ 954617 w 954617"/>
                <a:gd name="connsiteY1" fmla="*/ 271372 h 702311"/>
                <a:gd name="connsiteX0" fmla="*/ 0 w 954617"/>
                <a:gd name="connsiteY0" fmla="*/ 270 h 699493"/>
                <a:gd name="connsiteX1" fmla="*/ 954617 w 954617"/>
                <a:gd name="connsiteY1" fmla="*/ 268554 h 699493"/>
                <a:gd name="connsiteX2" fmla="*/ 0 w 954617"/>
                <a:gd name="connsiteY2" fmla="*/ 699493 h 699493"/>
                <a:gd name="connsiteX3" fmla="*/ 0 w 954617"/>
                <a:gd name="connsiteY3" fmla="*/ 270 h 699493"/>
                <a:gd name="connsiteX0" fmla="*/ 0 w 954617"/>
                <a:gd name="connsiteY0" fmla="*/ 270 h 699493"/>
                <a:gd name="connsiteX1" fmla="*/ 954617 w 954617"/>
                <a:gd name="connsiteY1" fmla="*/ 268554 h 699493"/>
                <a:gd name="connsiteX0" fmla="*/ 0 w 954617"/>
                <a:gd name="connsiteY0" fmla="*/ 291 h 699514"/>
                <a:gd name="connsiteX1" fmla="*/ 954617 w 954617"/>
                <a:gd name="connsiteY1" fmla="*/ 268575 h 699514"/>
                <a:gd name="connsiteX2" fmla="*/ 0 w 954617"/>
                <a:gd name="connsiteY2" fmla="*/ 699514 h 699514"/>
                <a:gd name="connsiteX3" fmla="*/ 0 w 954617"/>
                <a:gd name="connsiteY3" fmla="*/ 291 h 699514"/>
                <a:gd name="connsiteX0" fmla="*/ 0 w 954617"/>
                <a:gd name="connsiteY0" fmla="*/ 291 h 699514"/>
                <a:gd name="connsiteX1" fmla="*/ 954617 w 954617"/>
                <a:gd name="connsiteY1" fmla="*/ 268575 h 699514"/>
                <a:gd name="connsiteX0" fmla="*/ 0 w 954617"/>
                <a:gd name="connsiteY0" fmla="*/ 433 h 699656"/>
                <a:gd name="connsiteX1" fmla="*/ 954617 w 954617"/>
                <a:gd name="connsiteY1" fmla="*/ 268717 h 699656"/>
                <a:gd name="connsiteX2" fmla="*/ 0 w 954617"/>
                <a:gd name="connsiteY2" fmla="*/ 699656 h 699656"/>
                <a:gd name="connsiteX3" fmla="*/ 0 w 954617"/>
                <a:gd name="connsiteY3" fmla="*/ 433 h 699656"/>
                <a:gd name="connsiteX0" fmla="*/ 0 w 954617"/>
                <a:gd name="connsiteY0" fmla="*/ 433 h 699656"/>
                <a:gd name="connsiteX1" fmla="*/ 954617 w 954617"/>
                <a:gd name="connsiteY1" fmla="*/ 268717 h 699656"/>
                <a:gd name="connsiteX0" fmla="*/ 0 w 954617"/>
                <a:gd name="connsiteY0" fmla="*/ 489 h 699712"/>
                <a:gd name="connsiteX1" fmla="*/ 954617 w 954617"/>
                <a:gd name="connsiteY1" fmla="*/ 268773 h 699712"/>
                <a:gd name="connsiteX2" fmla="*/ 0 w 954617"/>
                <a:gd name="connsiteY2" fmla="*/ 699712 h 699712"/>
                <a:gd name="connsiteX3" fmla="*/ 0 w 954617"/>
                <a:gd name="connsiteY3" fmla="*/ 489 h 699712"/>
                <a:gd name="connsiteX0" fmla="*/ 0 w 954617"/>
                <a:gd name="connsiteY0" fmla="*/ 489 h 699712"/>
                <a:gd name="connsiteX1" fmla="*/ 954617 w 954617"/>
                <a:gd name="connsiteY1" fmla="*/ 268773 h 699712"/>
                <a:gd name="connsiteX0" fmla="*/ 0 w 954617"/>
                <a:gd name="connsiteY0" fmla="*/ 437 h 699660"/>
                <a:gd name="connsiteX1" fmla="*/ 954617 w 954617"/>
                <a:gd name="connsiteY1" fmla="*/ 268721 h 699660"/>
                <a:gd name="connsiteX2" fmla="*/ 0 w 954617"/>
                <a:gd name="connsiteY2" fmla="*/ 699660 h 699660"/>
                <a:gd name="connsiteX3" fmla="*/ 0 w 954617"/>
                <a:gd name="connsiteY3" fmla="*/ 437 h 699660"/>
                <a:gd name="connsiteX0" fmla="*/ 0 w 954617"/>
                <a:gd name="connsiteY0" fmla="*/ 437 h 699660"/>
                <a:gd name="connsiteX1" fmla="*/ 954617 w 954617"/>
                <a:gd name="connsiteY1" fmla="*/ 268721 h 699660"/>
                <a:gd name="connsiteX0" fmla="*/ 0 w 954617"/>
                <a:gd name="connsiteY0" fmla="*/ 298 h 699521"/>
                <a:gd name="connsiteX1" fmla="*/ 954617 w 954617"/>
                <a:gd name="connsiteY1" fmla="*/ 268582 h 699521"/>
                <a:gd name="connsiteX2" fmla="*/ 0 w 954617"/>
                <a:gd name="connsiteY2" fmla="*/ 699521 h 699521"/>
                <a:gd name="connsiteX3" fmla="*/ 0 w 954617"/>
                <a:gd name="connsiteY3" fmla="*/ 298 h 699521"/>
                <a:gd name="connsiteX0" fmla="*/ 0 w 954617"/>
                <a:gd name="connsiteY0" fmla="*/ 298 h 699521"/>
                <a:gd name="connsiteX1" fmla="*/ 954617 w 954617"/>
                <a:gd name="connsiteY1" fmla="*/ 268582 h 699521"/>
                <a:gd name="connsiteX0" fmla="*/ 0 w 954617"/>
                <a:gd name="connsiteY0" fmla="*/ 194 h 699417"/>
                <a:gd name="connsiteX1" fmla="*/ 954617 w 954617"/>
                <a:gd name="connsiteY1" fmla="*/ 268478 h 699417"/>
                <a:gd name="connsiteX2" fmla="*/ 0 w 954617"/>
                <a:gd name="connsiteY2" fmla="*/ 699417 h 699417"/>
                <a:gd name="connsiteX3" fmla="*/ 0 w 954617"/>
                <a:gd name="connsiteY3" fmla="*/ 194 h 699417"/>
                <a:gd name="connsiteX0" fmla="*/ 0 w 954617"/>
                <a:gd name="connsiteY0" fmla="*/ 194 h 699417"/>
                <a:gd name="connsiteX1" fmla="*/ 954617 w 954617"/>
                <a:gd name="connsiteY1" fmla="*/ 268478 h 699417"/>
                <a:gd name="connsiteX0" fmla="*/ 0 w 954617"/>
                <a:gd name="connsiteY0" fmla="*/ 4587 h 703810"/>
                <a:gd name="connsiteX1" fmla="*/ 954617 w 954617"/>
                <a:gd name="connsiteY1" fmla="*/ 272871 h 703810"/>
                <a:gd name="connsiteX2" fmla="*/ 0 w 954617"/>
                <a:gd name="connsiteY2" fmla="*/ 703810 h 703810"/>
                <a:gd name="connsiteX3" fmla="*/ 0 w 954617"/>
                <a:gd name="connsiteY3" fmla="*/ 4587 h 703810"/>
                <a:gd name="connsiteX0" fmla="*/ 0 w 954617"/>
                <a:gd name="connsiteY0" fmla="*/ 4587 h 703810"/>
                <a:gd name="connsiteX1" fmla="*/ 954617 w 954617"/>
                <a:gd name="connsiteY1" fmla="*/ 272871 h 703810"/>
                <a:gd name="connsiteX0" fmla="*/ 0 w 954617"/>
                <a:gd name="connsiteY0" fmla="*/ 6926 h 706149"/>
                <a:gd name="connsiteX1" fmla="*/ 954617 w 954617"/>
                <a:gd name="connsiteY1" fmla="*/ 275210 h 706149"/>
                <a:gd name="connsiteX2" fmla="*/ 0 w 954617"/>
                <a:gd name="connsiteY2" fmla="*/ 706149 h 706149"/>
                <a:gd name="connsiteX3" fmla="*/ 0 w 954617"/>
                <a:gd name="connsiteY3" fmla="*/ 6926 h 706149"/>
                <a:gd name="connsiteX0" fmla="*/ 0 w 954617"/>
                <a:gd name="connsiteY0" fmla="*/ 6926 h 706149"/>
                <a:gd name="connsiteX1" fmla="*/ 954617 w 954617"/>
                <a:gd name="connsiteY1" fmla="*/ 275210 h 706149"/>
                <a:gd name="connsiteX0" fmla="*/ 0 w 954617"/>
                <a:gd name="connsiteY0" fmla="*/ 8297 h 707520"/>
                <a:gd name="connsiteX1" fmla="*/ 954617 w 954617"/>
                <a:gd name="connsiteY1" fmla="*/ 276581 h 707520"/>
                <a:gd name="connsiteX2" fmla="*/ 0 w 954617"/>
                <a:gd name="connsiteY2" fmla="*/ 707520 h 707520"/>
                <a:gd name="connsiteX3" fmla="*/ 0 w 954617"/>
                <a:gd name="connsiteY3" fmla="*/ 8297 h 707520"/>
                <a:gd name="connsiteX0" fmla="*/ 0 w 954617"/>
                <a:gd name="connsiteY0" fmla="*/ 8297 h 707520"/>
                <a:gd name="connsiteX1" fmla="*/ 954617 w 954617"/>
                <a:gd name="connsiteY1" fmla="*/ 276581 h 707520"/>
                <a:gd name="connsiteX0" fmla="*/ 0 w 954617"/>
                <a:gd name="connsiteY0" fmla="*/ 8407 h 707630"/>
                <a:gd name="connsiteX1" fmla="*/ 954617 w 954617"/>
                <a:gd name="connsiteY1" fmla="*/ 276691 h 707630"/>
                <a:gd name="connsiteX2" fmla="*/ 0 w 954617"/>
                <a:gd name="connsiteY2" fmla="*/ 707630 h 707630"/>
                <a:gd name="connsiteX3" fmla="*/ 0 w 954617"/>
                <a:gd name="connsiteY3" fmla="*/ 8407 h 707630"/>
                <a:gd name="connsiteX0" fmla="*/ 0 w 954617"/>
                <a:gd name="connsiteY0" fmla="*/ 8407 h 707630"/>
                <a:gd name="connsiteX1" fmla="*/ 954617 w 954617"/>
                <a:gd name="connsiteY1" fmla="*/ 276691 h 707630"/>
                <a:gd name="connsiteX0" fmla="*/ 0 w 954617"/>
                <a:gd name="connsiteY0" fmla="*/ 8407 h 707630"/>
                <a:gd name="connsiteX1" fmla="*/ 954617 w 954617"/>
                <a:gd name="connsiteY1" fmla="*/ 276691 h 707630"/>
                <a:gd name="connsiteX2" fmla="*/ 0 w 954617"/>
                <a:gd name="connsiteY2" fmla="*/ 707630 h 707630"/>
                <a:gd name="connsiteX3" fmla="*/ 0 w 954617"/>
                <a:gd name="connsiteY3" fmla="*/ 8407 h 707630"/>
                <a:gd name="connsiteX0" fmla="*/ 0 w 954617"/>
                <a:gd name="connsiteY0" fmla="*/ 8407 h 707630"/>
                <a:gd name="connsiteX1" fmla="*/ 948622 w 954617"/>
                <a:gd name="connsiteY1" fmla="*/ 278783 h 707630"/>
                <a:gd name="connsiteX0" fmla="*/ 0 w 954617"/>
                <a:gd name="connsiteY0" fmla="*/ 8407 h 707630"/>
                <a:gd name="connsiteX1" fmla="*/ 954617 w 954617"/>
                <a:gd name="connsiteY1" fmla="*/ 276691 h 707630"/>
                <a:gd name="connsiteX2" fmla="*/ 0 w 954617"/>
                <a:gd name="connsiteY2" fmla="*/ 707630 h 707630"/>
                <a:gd name="connsiteX3" fmla="*/ 0 w 954617"/>
                <a:gd name="connsiteY3" fmla="*/ 8407 h 707630"/>
                <a:gd name="connsiteX0" fmla="*/ 0 w 954617"/>
                <a:gd name="connsiteY0" fmla="*/ 8407 h 707630"/>
                <a:gd name="connsiteX1" fmla="*/ 954617 w 954617"/>
                <a:gd name="connsiteY1" fmla="*/ 276692 h 707630"/>
                <a:gd name="connsiteX0" fmla="*/ 0 w 954617"/>
                <a:gd name="connsiteY0" fmla="*/ 8407 h 707630"/>
                <a:gd name="connsiteX1" fmla="*/ 954617 w 954617"/>
                <a:gd name="connsiteY1" fmla="*/ 276691 h 707630"/>
                <a:gd name="connsiteX2" fmla="*/ 0 w 954617"/>
                <a:gd name="connsiteY2" fmla="*/ 707630 h 707630"/>
                <a:gd name="connsiteX3" fmla="*/ 0 w 954617"/>
                <a:gd name="connsiteY3" fmla="*/ 8407 h 707630"/>
                <a:gd name="connsiteX0" fmla="*/ 0 w 954617"/>
                <a:gd name="connsiteY0" fmla="*/ 8407 h 707630"/>
                <a:gd name="connsiteX1" fmla="*/ 949668 w 954617"/>
                <a:gd name="connsiteY1" fmla="*/ 281781 h 707630"/>
                <a:gd name="connsiteX0" fmla="*/ 0 w 954617"/>
                <a:gd name="connsiteY0" fmla="*/ 8407 h 707630"/>
                <a:gd name="connsiteX1" fmla="*/ 954617 w 954617"/>
                <a:gd name="connsiteY1" fmla="*/ 276691 h 707630"/>
                <a:gd name="connsiteX2" fmla="*/ 0 w 954617"/>
                <a:gd name="connsiteY2" fmla="*/ 707630 h 707630"/>
                <a:gd name="connsiteX3" fmla="*/ 0 w 954617"/>
                <a:gd name="connsiteY3" fmla="*/ 8407 h 707630"/>
                <a:gd name="connsiteX0" fmla="*/ 0 w 954617"/>
                <a:gd name="connsiteY0" fmla="*/ 8407 h 707630"/>
                <a:gd name="connsiteX1" fmla="*/ 952666 w 954617"/>
                <a:gd name="connsiteY1" fmla="*/ 280735 h 707630"/>
                <a:gd name="connsiteX0" fmla="*/ 0 w 954617"/>
                <a:gd name="connsiteY0" fmla="*/ 3989 h 703212"/>
                <a:gd name="connsiteX1" fmla="*/ 954617 w 954617"/>
                <a:gd name="connsiteY1" fmla="*/ 272273 h 703212"/>
                <a:gd name="connsiteX2" fmla="*/ 0 w 954617"/>
                <a:gd name="connsiteY2" fmla="*/ 703212 h 703212"/>
                <a:gd name="connsiteX3" fmla="*/ 0 w 954617"/>
                <a:gd name="connsiteY3" fmla="*/ 3989 h 703212"/>
                <a:gd name="connsiteX0" fmla="*/ 0 w 954617"/>
                <a:gd name="connsiteY0" fmla="*/ 3989 h 703212"/>
                <a:gd name="connsiteX1" fmla="*/ 952666 w 954617"/>
                <a:gd name="connsiteY1" fmla="*/ 276317 h 703212"/>
                <a:gd name="connsiteX0" fmla="*/ 0 w 954617"/>
                <a:gd name="connsiteY0" fmla="*/ 3989 h 703212"/>
                <a:gd name="connsiteX1" fmla="*/ 954617 w 954617"/>
                <a:gd name="connsiteY1" fmla="*/ 272273 h 703212"/>
                <a:gd name="connsiteX2" fmla="*/ 0 w 954617"/>
                <a:gd name="connsiteY2" fmla="*/ 703212 h 703212"/>
                <a:gd name="connsiteX3" fmla="*/ 0 w 954617"/>
                <a:gd name="connsiteY3" fmla="*/ 3989 h 703212"/>
                <a:gd name="connsiteX0" fmla="*/ 0 w 954617"/>
                <a:gd name="connsiteY0" fmla="*/ 3989 h 703212"/>
                <a:gd name="connsiteX1" fmla="*/ 950575 w 954617"/>
                <a:gd name="connsiteY1" fmla="*/ 270322 h 703212"/>
                <a:gd name="connsiteX0" fmla="*/ 0 w 956710"/>
                <a:gd name="connsiteY0" fmla="*/ 3989 h 703212"/>
                <a:gd name="connsiteX1" fmla="*/ 954617 w 956710"/>
                <a:gd name="connsiteY1" fmla="*/ 272273 h 703212"/>
                <a:gd name="connsiteX2" fmla="*/ 0 w 956710"/>
                <a:gd name="connsiteY2" fmla="*/ 703212 h 703212"/>
                <a:gd name="connsiteX3" fmla="*/ 0 w 956710"/>
                <a:gd name="connsiteY3" fmla="*/ 3989 h 703212"/>
                <a:gd name="connsiteX0" fmla="*/ 0 w 956710"/>
                <a:gd name="connsiteY0" fmla="*/ 3989 h 703212"/>
                <a:gd name="connsiteX1" fmla="*/ 956710 w 956710"/>
                <a:gd name="connsiteY1" fmla="*/ 278270 h 703212"/>
                <a:gd name="connsiteX0" fmla="*/ 0 w 956710"/>
                <a:gd name="connsiteY0" fmla="*/ 3989 h 703212"/>
                <a:gd name="connsiteX1" fmla="*/ 954617 w 956710"/>
                <a:gd name="connsiteY1" fmla="*/ 272273 h 703212"/>
                <a:gd name="connsiteX2" fmla="*/ 0 w 956710"/>
                <a:gd name="connsiteY2" fmla="*/ 703212 h 703212"/>
                <a:gd name="connsiteX3" fmla="*/ 0 w 956710"/>
                <a:gd name="connsiteY3" fmla="*/ 3989 h 703212"/>
                <a:gd name="connsiteX0" fmla="*/ 0 w 956710"/>
                <a:gd name="connsiteY0" fmla="*/ 3989 h 703212"/>
                <a:gd name="connsiteX1" fmla="*/ 956710 w 956710"/>
                <a:gd name="connsiteY1" fmla="*/ 278270 h 703212"/>
                <a:gd name="connsiteX0" fmla="*/ 0 w 956710"/>
                <a:gd name="connsiteY0" fmla="*/ 3989 h 703212"/>
                <a:gd name="connsiteX1" fmla="*/ 954617 w 956710"/>
                <a:gd name="connsiteY1" fmla="*/ 272273 h 703212"/>
                <a:gd name="connsiteX2" fmla="*/ 0 w 956710"/>
                <a:gd name="connsiteY2" fmla="*/ 703212 h 703212"/>
                <a:gd name="connsiteX3" fmla="*/ 0 w 956710"/>
                <a:gd name="connsiteY3" fmla="*/ 3989 h 703212"/>
                <a:gd name="connsiteX0" fmla="*/ 0 w 956710"/>
                <a:gd name="connsiteY0" fmla="*/ 3989 h 703212"/>
                <a:gd name="connsiteX1" fmla="*/ 956710 w 956710"/>
                <a:gd name="connsiteY1" fmla="*/ 278270 h 703212"/>
                <a:gd name="connsiteX0" fmla="*/ 0 w 956710"/>
                <a:gd name="connsiteY0" fmla="*/ 5052 h 704275"/>
                <a:gd name="connsiteX1" fmla="*/ 954617 w 956710"/>
                <a:gd name="connsiteY1" fmla="*/ 273336 h 704275"/>
                <a:gd name="connsiteX2" fmla="*/ 0 w 956710"/>
                <a:gd name="connsiteY2" fmla="*/ 704275 h 704275"/>
                <a:gd name="connsiteX3" fmla="*/ 0 w 956710"/>
                <a:gd name="connsiteY3" fmla="*/ 5052 h 704275"/>
                <a:gd name="connsiteX0" fmla="*/ 0 w 956710"/>
                <a:gd name="connsiteY0" fmla="*/ 5052 h 704275"/>
                <a:gd name="connsiteX1" fmla="*/ 956710 w 956710"/>
                <a:gd name="connsiteY1" fmla="*/ 279333 h 704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6710" h="704275" stroke="0" extrusionOk="0">
                  <a:moveTo>
                    <a:pt x="0" y="5052"/>
                  </a:moveTo>
                  <a:cubicBezTo>
                    <a:pt x="379417" y="-24160"/>
                    <a:pt x="617010" y="74362"/>
                    <a:pt x="954617" y="273336"/>
                  </a:cubicBezTo>
                  <a:lnTo>
                    <a:pt x="0" y="704275"/>
                  </a:lnTo>
                  <a:lnTo>
                    <a:pt x="0" y="5052"/>
                  </a:lnTo>
                  <a:close/>
                </a:path>
                <a:path w="956710" h="704275" fill="none">
                  <a:moveTo>
                    <a:pt x="0" y="5052"/>
                  </a:moveTo>
                  <a:cubicBezTo>
                    <a:pt x="372796" y="5052"/>
                    <a:pt x="690559" y="92422"/>
                    <a:pt x="956710" y="279333"/>
                  </a:cubicBezTo>
                </a:path>
              </a:pathLst>
            </a:custGeom>
            <a:ln w="63500">
              <a:solidFill>
                <a:schemeClr val="accent2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sv-SE" sz="2400"/>
            </a:p>
          </p:txBody>
        </p:sp>
      </p:grpSp>
      <p:sp>
        <p:nvSpPr>
          <p:cNvPr id="6" name="Platshållare för datum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063571-03EB-471E-91A1-C61DF5061FD5}" type="datetime1">
              <a:rPr lang="sv-SE" smtClean="0"/>
              <a:t>2023-12-11</a:t>
            </a:fld>
            <a:endParaRPr lang="sv-SE"/>
          </a:p>
        </p:txBody>
      </p:sp>
      <p:sp>
        <p:nvSpPr>
          <p:cNvPr id="10" name="Platshållare för sidfo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idfotstext (ändras under Meny Infoga och knappen Sidhuvud/Sidfot)</a:t>
            </a:r>
          </a:p>
        </p:txBody>
      </p:sp>
      <p:sp>
        <p:nvSpPr>
          <p:cNvPr id="11" name="Platshållare för bild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5883614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sida,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78367" y="478366"/>
            <a:ext cx="11235267" cy="753535"/>
          </a:xfrm>
        </p:spPr>
        <p:txBody>
          <a:bodyPr/>
          <a:lstStyle/>
          <a:p>
            <a:r>
              <a:rPr lang="sv-SE"/>
              <a:t>Lägg till rubrik</a:t>
            </a:r>
          </a:p>
        </p:txBody>
      </p:sp>
      <p:sp>
        <p:nvSpPr>
          <p:cNvPr id="7" name="Platshållare för bild 6"/>
          <p:cNvSpPr>
            <a:spLocks noGrp="1"/>
          </p:cNvSpPr>
          <p:nvPr>
            <p:ph type="pic" sz="quarter" idx="13"/>
          </p:nvPr>
        </p:nvSpPr>
        <p:spPr>
          <a:xfrm>
            <a:off x="478367" y="1350433"/>
            <a:ext cx="2667000" cy="2688167"/>
          </a:xfrm>
          <a:solidFill>
            <a:schemeClr val="accent5"/>
          </a:solidFill>
        </p:spPr>
        <p:txBody>
          <a:bodyPr tIns="72000" anchor="t" anchorCtr="0">
            <a:normAutofit/>
          </a:bodyPr>
          <a:lstStyle>
            <a:lvl1pPr algn="ctr">
              <a:defRPr sz="1333"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8" name="Platshållare för text 7"/>
          <p:cNvSpPr>
            <a:spLocks noGrp="1"/>
          </p:cNvSpPr>
          <p:nvPr>
            <p:ph type="body" sz="quarter" idx="53" hasCustomPrompt="1"/>
          </p:nvPr>
        </p:nvSpPr>
        <p:spPr>
          <a:xfrm>
            <a:off x="478367" y="4377600"/>
            <a:ext cx="2667000" cy="288000"/>
          </a:xfrm>
        </p:spPr>
        <p:txBody>
          <a:bodyPr>
            <a:noAutofit/>
          </a:bodyPr>
          <a:lstStyle>
            <a:lvl1pPr>
              <a:defRPr sz="1600" b="1" spc="0" baseline="0">
                <a:latin typeface="+mn-lt"/>
              </a:defRPr>
            </a:lvl1pPr>
          </a:lstStyle>
          <a:p>
            <a:pPr lvl="0"/>
            <a:r>
              <a:rPr lang="sv-SE"/>
              <a:t>Plats för personnamn</a:t>
            </a:r>
          </a:p>
        </p:txBody>
      </p:sp>
      <p:sp>
        <p:nvSpPr>
          <p:cNvPr id="15" name="Platshållare för text 14"/>
          <p:cNvSpPr>
            <a:spLocks noGrp="1"/>
          </p:cNvSpPr>
          <p:nvPr>
            <p:ph type="body" sz="quarter" idx="57" hasCustomPrompt="1"/>
          </p:nvPr>
        </p:nvSpPr>
        <p:spPr>
          <a:xfrm>
            <a:off x="478367" y="4708800"/>
            <a:ext cx="2667000" cy="83520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333"/>
            </a:lvl1pPr>
            <a:lvl2pPr marL="0" indent="0">
              <a:buNone/>
              <a:defRPr/>
            </a:lvl2pPr>
          </a:lstStyle>
          <a:p>
            <a:pPr lvl="0"/>
            <a:r>
              <a:rPr lang="sv-SE"/>
              <a:t>Lägg till titel</a:t>
            </a:r>
          </a:p>
          <a:p>
            <a:pPr lvl="0"/>
            <a:r>
              <a:rPr lang="sv-SE"/>
              <a:t>Lägg till eventuell annan information</a:t>
            </a:r>
          </a:p>
        </p:txBody>
      </p:sp>
      <p:sp>
        <p:nvSpPr>
          <p:cNvPr id="20" name="Platshållare för bild 6"/>
          <p:cNvSpPr>
            <a:spLocks noGrp="1"/>
          </p:cNvSpPr>
          <p:nvPr>
            <p:ph type="pic" sz="quarter" idx="20"/>
          </p:nvPr>
        </p:nvSpPr>
        <p:spPr>
          <a:xfrm>
            <a:off x="3335867" y="1350433"/>
            <a:ext cx="2662767" cy="2688167"/>
          </a:xfrm>
          <a:solidFill>
            <a:schemeClr val="accent5"/>
          </a:solidFill>
        </p:spPr>
        <p:txBody>
          <a:bodyPr tIns="72000" anchor="t" anchorCtr="0">
            <a:normAutofit/>
          </a:bodyPr>
          <a:lstStyle>
            <a:lvl1pPr algn="ctr">
              <a:defRPr sz="1333"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39" name="Platshållare för text 7"/>
          <p:cNvSpPr>
            <a:spLocks noGrp="1"/>
          </p:cNvSpPr>
          <p:nvPr>
            <p:ph type="body" sz="quarter" idx="54" hasCustomPrompt="1"/>
          </p:nvPr>
        </p:nvSpPr>
        <p:spPr>
          <a:xfrm>
            <a:off x="3335867" y="4377600"/>
            <a:ext cx="2664000" cy="288000"/>
          </a:xfrm>
        </p:spPr>
        <p:txBody>
          <a:bodyPr>
            <a:noAutofit/>
          </a:bodyPr>
          <a:lstStyle>
            <a:lvl1pPr>
              <a:defRPr sz="1600" b="1" spc="0" baseline="0">
                <a:latin typeface="+mn-lt"/>
              </a:defRPr>
            </a:lvl1pPr>
          </a:lstStyle>
          <a:p>
            <a:pPr lvl="0"/>
            <a:r>
              <a:rPr lang="sv-SE"/>
              <a:t>Plats för personnamn</a:t>
            </a:r>
          </a:p>
        </p:txBody>
      </p:sp>
      <p:sp>
        <p:nvSpPr>
          <p:cNvPr id="55" name="Platshållare för text 14"/>
          <p:cNvSpPr>
            <a:spLocks noGrp="1"/>
          </p:cNvSpPr>
          <p:nvPr>
            <p:ph type="body" sz="quarter" idx="58" hasCustomPrompt="1"/>
          </p:nvPr>
        </p:nvSpPr>
        <p:spPr>
          <a:xfrm>
            <a:off x="3335867" y="4708800"/>
            <a:ext cx="2664000" cy="83520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333"/>
            </a:lvl1pPr>
            <a:lvl2pPr marL="0" indent="0">
              <a:buNone/>
              <a:defRPr/>
            </a:lvl2pPr>
          </a:lstStyle>
          <a:p>
            <a:pPr lvl="0"/>
            <a:r>
              <a:rPr lang="sv-SE"/>
              <a:t>Lägg till titel</a:t>
            </a:r>
          </a:p>
          <a:p>
            <a:pPr lvl="0"/>
            <a:r>
              <a:rPr lang="sv-SE"/>
              <a:t>Lägg till eventuell annan information</a:t>
            </a:r>
          </a:p>
        </p:txBody>
      </p:sp>
      <p:sp>
        <p:nvSpPr>
          <p:cNvPr id="27" name="Platshållare för bild 6"/>
          <p:cNvSpPr>
            <a:spLocks noGrp="1"/>
          </p:cNvSpPr>
          <p:nvPr>
            <p:ph type="pic" sz="quarter" idx="27"/>
          </p:nvPr>
        </p:nvSpPr>
        <p:spPr>
          <a:xfrm>
            <a:off x="6196800" y="1350433"/>
            <a:ext cx="2664000" cy="2688167"/>
          </a:xfrm>
          <a:solidFill>
            <a:schemeClr val="accent5"/>
          </a:solidFill>
        </p:spPr>
        <p:txBody>
          <a:bodyPr tIns="72000" anchor="t" anchorCtr="0">
            <a:normAutofit/>
          </a:bodyPr>
          <a:lstStyle>
            <a:lvl1pPr algn="ctr">
              <a:defRPr sz="1333"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53" name="Platshållare för text 7"/>
          <p:cNvSpPr>
            <a:spLocks noGrp="1"/>
          </p:cNvSpPr>
          <p:nvPr>
            <p:ph type="body" sz="quarter" idx="55" hasCustomPrompt="1"/>
          </p:nvPr>
        </p:nvSpPr>
        <p:spPr>
          <a:xfrm>
            <a:off x="6196801" y="4377600"/>
            <a:ext cx="2659332" cy="288000"/>
          </a:xfrm>
        </p:spPr>
        <p:txBody>
          <a:bodyPr>
            <a:noAutofit/>
          </a:bodyPr>
          <a:lstStyle>
            <a:lvl1pPr>
              <a:defRPr sz="1600" b="1" spc="0" baseline="0">
                <a:latin typeface="+mn-lt"/>
              </a:defRPr>
            </a:lvl1pPr>
          </a:lstStyle>
          <a:p>
            <a:pPr lvl="0"/>
            <a:r>
              <a:rPr lang="sv-SE"/>
              <a:t>Plats för personnamn</a:t>
            </a:r>
          </a:p>
        </p:txBody>
      </p:sp>
      <p:sp>
        <p:nvSpPr>
          <p:cNvPr id="56" name="Platshållare för text 14"/>
          <p:cNvSpPr>
            <a:spLocks noGrp="1"/>
          </p:cNvSpPr>
          <p:nvPr>
            <p:ph type="body" sz="quarter" idx="59" hasCustomPrompt="1"/>
          </p:nvPr>
        </p:nvSpPr>
        <p:spPr>
          <a:xfrm>
            <a:off x="6197599" y="4708800"/>
            <a:ext cx="2658532" cy="83520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333"/>
            </a:lvl1pPr>
            <a:lvl2pPr marL="0" indent="0">
              <a:buNone/>
              <a:defRPr/>
            </a:lvl2pPr>
          </a:lstStyle>
          <a:p>
            <a:pPr lvl="0"/>
            <a:r>
              <a:rPr lang="sv-SE"/>
              <a:t>Lägg till titel</a:t>
            </a:r>
          </a:p>
          <a:p>
            <a:pPr lvl="0"/>
            <a:r>
              <a:rPr lang="sv-SE"/>
              <a:t>Lägg till eventuell annan information</a:t>
            </a:r>
          </a:p>
        </p:txBody>
      </p:sp>
      <p:sp>
        <p:nvSpPr>
          <p:cNvPr id="34" name="Platshållare för bild 6"/>
          <p:cNvSpPr>
            <a:spLocks noGrp="1"/>
          </p:cNvSpPr>
          <p:nvPr>
            <p:ph type="pic" sz="quarter" idx="34"/>
          </p:nvPr>
        </p:nvSpPr>
        <p:spPr>
          <a:xfrm>
            <a:off x="9048000" y="1350433"/>
            <a:ext cx="2664000" cy="2688167"/>
          </a:xfrm>
          <a:solidFill>
            <a:schemeClr val="accent5"/>
          </a:solidFill>
        </p:spPr>
        <p:txBody>
          <a:bodyPr tIns="72000" anchor="t" anchorCtr="0">
            <a:normAutofit/>
          </a:bodyPr>
          <a:lstStyle>
            <a:lvl1pPr algn="ctr">
              <a:defRPr sz="1333"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54" name="Platshållare för text 7"/>
          <p:cNvSpPr>
            <a:spLocks noGrp="1"/>
          </p:cNvSpPr>
          <p:nvPr>
            <p:ph type="body" sz="quarter" idx="56" hasCustomPrompt="1"/>
          </p:nvPr>
        </p:nvSpPr>
        <p:spPr>
          <a:xfrm>
            <a:off x="9046633" y="4377600"/>
            <a:ext cx="2667000" cy="288000"/>
          </a:xfrm>
        </p:spPr>
        <p:txBody>
          <a:bodyPr>
            <a:noAutofit/>
          </a:bodyPr>
          <a:lstStyle>
            <a:lvl1pPr>
              <a:defRPr sz="1600" b="1" spc="0" baseline="0">
                <a:latin typeface="+mn-lt"/>
              </a:defRPr>
            </a:lvl1pPr>
          </a:lstStyle>
          <a:p>
            <a:pPr lvl="0"/>
            <a:r>
              <a:rPr lang="sv-SE"/>
              <a:t>Plats för personnamn</a:t>
            </a:r>
          </a:p>
        </p:txBody>
      </p:sp>
      <p:sp>
        <p:nvSpPr>
          <p:cNvPr id="57" name="Platshållare för text 14"/>
          <p:cNvSpPr>
            <a:spLocks noGrp="1"/>
          </p:cNvSpPr>
          <p:nvPr>
            <p:ph type="body" sz="quarter" idx="60" hasCustomPrompt="1"/>
          </p:nvPr>
        </p:nvSpPr>
        <p:spPr>
          <a:xfrm>
            <a:off x="9046633" y="4708800"/>
            <a:ext cx="2667000" cy="83520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333"/>
            </a:lvl1pPr>
            <a:lvl2pPr marL="0" indent="0">
              <a:buNone/>
              <a:defRPr/>
            </a:lvl2pPr>
          </a:lstStyle>
          <a:p>
            <a:pPr lvl="0"/>
            <a:r>
              <a:rPr lang="sv-SE"/>
              <a:t>Lägg till titel</a:t>
            </a:r>
          </a:p>
          <a:p>
            <a:pPr lvl="0"/>
            <a:r>
              <a:rPr lang="sv-SE"/>
              <a:t>Lägg till eventuell annan information</a:t>
            </a:r>
          </a:p>
        </p:txBody>
      </p:sp>
      <p:sp>
        <p:nvSpPr>
          <p:cNvPr id="6" name="Platshållare för datum 5"/>
          <p:cNvSpPr>
            <a:spLocks noGrp="1"/>
          </p:cNvSpPr>
          <p:nvPr>
            <p:ph type="dt" sz="half" idx="77"/>
          </p:nvPr>
        </p:nvSpPr>
        <p:spPr/>
        <p:txBody>
          <a:bodyPr/>
          <a:lstStyle/>
          <a:p>
            <a:fld id="{1F17FE81-3CF7-44B6-9B66-6F21253A3750}" type="datetime1">
              <a:rPr lang="sv-SE" smtClean="0"/>
              <a:t>2023-12-11</a:t>
            </a:fld>
            <a:endParaRPr lang="sv-SE"/>
          </a:p>
        </p:txBody>
      </p:sp>
      <p:sp>
        <p:nvSpPr>
          <p:cNvPr id="9" name="Platshållare för sidfot 8"/>
          <p:cNvSpPr>
            <a:spLocks noGrp="1"/>
          </p:cNvSpPr>
          <p:nvPr>
            <p:ph type="ftr" sz="quarter" idx="78"/>
          </p:nvPr>
        </p:nvSpPr>
        <p:spPr/>
        <p:txBody>
          <a:bodyPr/>
          <a:lstStyle/>
          <a:p>
            <a:r>
              <a:rPr lang="sv-SE"/>
              <a:t>Sidfotstext (ändras under Meny Infoga och knappen Sidhuvud/Sidfot)</a:t>
            </a:r>
          </a:p>
        </p:txBody>
      </p:sp>
      <p:sp>
        <p:nvSpPr>
          <p:cNvPr id="10" name="Platshållare för bildnummer 9"/>
          <p:cNvSpPr>
            <a:spLocks noGrp="1"/>
          </p:cNvSpPr>
          <p:nvPr>
            <p:ph type="sldNum" sz="quarter" idx="79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4" name="Platshållare för tabell 3">
            <a:extLst>
              <a:ext uri="{FF2B5EF4-FFF2-40B4-BE49-F238E27FC236}">
                <a16:creationId xmlns:a16="http://schemas.microsoft.com/office/drawing/2014/main" id="{9D2BC1A9-CECA-433A-9FE0-D2F0546492E2}"/>
              </a:ext>
            </a:extLst>
          </p:cNvPr>
          <p:cNvSpPr>
            <a:spLocks noGrp="1"/>
          </p:cNvSpPr>
          <p:nvPr>
            <p:ph type="tbl" sz="quarter" idx="80" hasCustomPrompt="1"/>
          </p:nvPr>
        </p:nvSpPr>
        <p:spPr>
          <a:xfrm>
            <a:off x="478367" y="4233333"/>
            <a:ext cx="2667000" cy="24000"/>
          </a:xfrm>
          <a:solidFill>
            <a:schemeClr val="accent1"/>
          </a:solidFill>
        </p:spPr>
        <p:txBody>
          <a:bodyPr>
            <a:normAutofit/>
          </a:bodyPr>
          <a:lstStyle>
            <a:lvl1pPr>
              <a:defRPr sz="267"/>
            </a:lvl1pPr>
          </a:lstStyle>
          <a:p>
            <a:r>
              <a:rPr lang="sv-SE"/>
              <a:t> </a:t>
            </a:r>
          </a:p>
        </p:txBody>
      </p:sp>
      <p:sp>
        <p:nvSpPr>
          <p:cNvPr id="21" name="Platshållare för tabell 3">
            <a:extLst>
              <a:ext uri="{FF2B5EF4-FFF2-40B4-BE49-F238E27FC236}">
                <a16:creationId xmlns:a16="http://schemas.microsoft.com/office/drawing/2014/main" id="{7853DE58-6AAF-4C59-B8B7-7D8F25A5272F}"/>
              </a:ext>
            </a:extLst>
          </p:cNvPr>
          <p:cNvSpPr>
            <a:spLocks noGrp="1"/>
          </p:cNvSpPr>
          <p:nvPr>
            <p:ph type="tbl" sz="quarter" idx="81" hasCustomPrompt="1"/>
          </p:nvPr>
        </p:nvSpPr>
        <p:spPr>
          <a:xfrm>
            <a:off x="3331633" y="4233333"/>
            <a:ext cx="2667000" cy="24000"/>
          </a:xfrm>
          <a:solidFill>
            <a:schemeClr val="accent1"/>
          </a:solidFill>
        </p:spPr>
        <p:txBody>
          <a:bodyPr>
            <a:normAutofit/>
          </a:bodyPr>
          <a:lstStyle>
            <a:lvl1pPr>
              <a:defRPr sz="267"/>
            </a:lvl1pPr>
          </a:lstStyle>
          <a:p>
            <a:r>
              <a:rPr lang="sv-SE"/>
              <a:t> </a:t>
            </a:r>
          </a:p>
        </p:txBody>
      </p:sp>
      <p:sp>
        <p:nvSpPr>
          <p:cNvPr id="22" name="Platshållare för tabell 3">
            <a:extLst>
              <a:ext uri="{FF2B5EF4-FFF2-40B4-BE49-F238E27FC236}">
                <a16:creationId xmlns:a16="http://schemas.microsoft.com/office/drawing/2014/main" id="{48003962-C871-4CA0-B649-D7D1A15A5244}"/>
              </a:ext>
            </a:extLst>
          </p:cNvPr>
          <p:cNvSpPr>
            <a:spLocks noGrp="1"/>
          </p:cNvSpPr>
          <p:nvPr>
            <p:ph type="tbl" sz="quarter" idx="82" hasCustomPrompt="1"/>
          </p:nvPr>
        </p:nvSpPr>
        <p:spPr>
          <a:xfrm>
            <a:off x="6197599" y="4233333"/>
            <a:ext cx="2667000" cy="24000"/>
          </a:xfrm>
          <a:solidFill>
            <a:schemeClr val="accent1"/>
          </a:solidFill>
        </p:spPr>
        <p:txBody>
          <a:bodyPr>
            <a:normAutofit/>
          </a:bodyPr>
          <a:lstStyle>
            <a:lvl1pPr>
              <a:defRPr sz="267"/>
            </a:lvl1pPr>
          </a:lstStyle>
          <a:p>
            <a:r>
              <a:rPr lang="sv-SE"/>
              <a:t> </a:t>
            </a:r>
          </a:p>
        </p:txBody>
      </p:sp>
      <p:sp>
        <p:nvSpPr>
          <p:cNvPr id="23" name="Platshållare för tabell 3">
            <a:extLst>
              <a:ext uri="{FF2B5EF4-FFF2-40B4-BE49-F238E27FC236}">
                <a16:creationId xmlns:a16="http://schemas.microsoft.com/office/drawing/2014/main" id="{F55151F3-2932-426C-8A70-F4328088CDC0}"/>
              </a:ext>
            </a:extLst>
          </p:cNvPr>
          <p:cNvSpPr>
            <a:spLocks noGrp="1"/>
          </p:cNvSpPr>
          <p:nvPr>
            <p:ph type="tbl" sz="quarter" idx="83" hasCustomPrompt="1"/>
          </p:nvPr>
        </p:nvSpPr>
        <p:spPr>
          <a:xfrm>
            <a:off x="9048000" y="4233333"/>
            <a:ext cx="2667000" cy="24000"/>
          </a:xfrm>
          <a:solidFill>
            <a:schemeClr val="accent1"/>
          </a:solidFill>
        </p:spPr>
        <p:txBody>
          <a:bodyPr>
            <a:normAutofit/>
          </a:bodyPr>
          <a:lstStyle>
            <a:lvl1pPr>
              <a:defRPr sz="267"/>
            </a:lvl1pPr>
          </a:lstStyle>
          <a:p>
            <a:r>
              <a:rPr lang="sv-SE"/>
              <a:t> </a:t>
            </a:r>
          </a:p>
        </p:txBody>
      </p:sp>
      <p:sp>
        <p:nvSpPr>
          <p:cNvPr id="24" name="Platshållare för tabell 3">
            <a:extLst>
              <a:ext uri="{FF2B5EF4-FFF2-40B4-BE49-F238E27FC236}">
                <a16:creationId xmlns:a16="http://schemas.microsoft.com/office/drawing/2014/main" id="{1DD5A640-2E3C-4BAE-8C1B-CBEC671B516B}"/>
              </a:ext>
            </a:extLst>
          </p:cNvPr>
          <p:cNvSpPr>
            <a:spLocks noGrp="1"/>
          </p:cNvSpPr>
          <p:nvPr>
            <p:ph type="tbl" sz="quarter" idx="84" hasCustomPrompt="1"/>
          </p:nvPr>
        </p:nvSpPr>
        <p:spPr>
          <a:xfrm>
            <a:off x="478367" y="5520000"/>
            <a:ext cx="2667000" cy="24000"/>
          </a:xfrm>
          <a:solidFill>
            <a:schemeClr val="accent1"/>
          </a:solidFill>
        </p:spPr>
        <p:txBody>
          <a:bodyPr>
            <a:normAutofit/>
          </a:bodyPr>
          <a:lstStyle>
            <a:lvl1pPr>
              <a:defRPr sz="267"/>
            </a:lvl1pPr>
          </a:lstStyle>
          <a:p>
            <a:r>
              <a:rPr lang="sv-SE"/>
              <a:t> </a:t>
            </a:r>
          </a:p>
        </p:txBody>
      </p:sp>
      <p:sp>
        <p:nvSpPr>
          <p:cNvPr id="25" name="Platshållare för tabell 3">
            <a:extLst>
              <a:ext uri="{FF2B5EF4-FFF2-40B4-BE49-F238E27FC236}">
                <a16:creationId xmlns:a16="http://schemas.microsoft.com/office/drawing/2014/main" id="{5DE9A05F-81ED-4636-8B16-B85C15826D63}"/>
              </a:ext>
            </a:extLst>
          </p:cNvPr>
          <p:cNvSpPr>
            <a:spLocks noGrp="1"/>
          </p:cNvSpPr>
          <p:nvPr>
            <p:ph type="tbl" sz="quarter" idx="85" hasCustomPrompt="1"/>
          </p:nvPr>
        </p:nvSpPr>
        <p:spPr>
          <a:xfrm>
            <a:off x="3331633" y="5520000"/>
            <a:ext cx="2667000" cy="24000"/>
          </a:xfrm>
          <a:solidFill>
            <a:schemeClr val="accent1"/>
          </a:solidFill>
        </p:spPr>
        <p:txBody>
          <a:bodyPr>
            <a:normAutofit/>
          </a:bodyPr>
          <a:lstStyle>
            <a:lvl1pPr>
              <a:defRPr sz="267"/>
            </a:lvl1pPr>
          </a:lstStyle>
          <a:p>
            <a:r>
              <a:rPr lang="sv-SE"/>
              <a:t> </a:t>
            </a:r>
          </a:p>
        </p:txBody>
      </p:sp>
      <p:sp>
        <p:nvSpPr>
          <p:cNvPr id="26" name="Platshållare för tabell 3">
            <a:extLst>
              <a:ext uri="{FF2B5EF4-FFF2-40B4-BE49-F238E27FC236}">
                <a16:creationId xmlns:a16="http://schemas.microsoft.com/office/drawing/2014/main" id="{C6D1DDE0-BA88-43BE-A7F9-AB8BC28F8A7D}"/>
              </a:ext>
            </a:extLst>
          </p:cNvPr>
          <p:cNvSpPr>
            <a:spLocks noGrp="1"/>
          </p:cNvSpPr>
          <p:nvPr>
            <p:ph type="tbl" sz="quarter" idx="86" hasCustomPrompt="1"/>
          </p:nvPr>
        </p:nvSpPr>
        <p:spPr>
          <a:xfrm>
            <a:off x="6197599" y="5520000"/>
            <a:ext cx="2667000" cy="24000"/>
          </a:xfrm>
          <a:solidFill>
            <a:schemeClr val="accent1"/>
          </a:solidFill>
        </p:spPr>
        <p:txBody>
          <a:bodyPr>
            <a:normAutofit/>
          </a:bodyPr>
          <a:lstStyle>
            <a:lvl1pPr>
              <a:defRPr sz="267"/>
            </a:lvl1pPr>
          </a:lstStyle>
          <a:p>
            <a:r>
              <a:rPr lang="sv-SE"/>
              <a:t> </a:t>
            </a:r>
          </a:p>
        </p:txBody>
      </p:sp>
      <p:sp>
        <p:nvSpPr>
          <p:cNvPr id="28" name="Platshållare för tabell 3">
            <a:extLst>
              <a:ext uri="{FF2B5EF4-FFF2-40B4-BE49-F238E27FC236}">
                <a16:creationId xmlns:a16="http://schemas.microsoft.com/office/drawing/2014/main" id="{E8D0CD4E-F37B-4E93-853B-C411DE3F0DDD}"/>
              </a:ext>
            </a:extLst>
          </p:cNvPr>
          <p:cNvSpPr>
            <a:spLocks noGrp="1"/>
          </p:cNvSpPr>
          <p:nvPr>
            <p:ph type="tbl" sz="quarter" idx="87" hasCustomPrompt="1"/>
          </p:nvPr>
        </p:nvSpPr>
        <p:spPr>
          <a:xfrm>
            <a:off x="9048000" y="5520000"/>
            <a:ext cx="2667000" cy="24000"/>
          </a:xfrm>
          <a:solidFill>
            <a:schemeClr val="accent1"/>
          </a:solidFill>
        </p:spPr>
        <p:txBody>
          <a:bodyPr>
            <a:normAutofit/>
          </a:bodyPr>
          <a:lstStyle>
            <a:lvl1pPr>
              <a:defRPr sz="267"/>
            </a:lvl1pPr>
          </a:lstStyle>
          <a:p>
            <a:r>
              <a:rPr lang="sv-S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1992036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, innehåll,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78367" y="478366"/>
            <a:ext cx="11235267" cy="753535"/>
          </a:xfrm>
        </p:spPr>
        <p:txBody>
          <a:bodyPr/>
          <a:lstStyle/>
          <a:p>
            <a:r>
              <a:rPr lang="sv-SE"/>
              <a:t>Lägg till rubrik</a:t>
            </a:r>
          </a:p>
        </p:txBody>
      </p:sp>
      <p:sp>
        <p:nvSpPr>
          <p:cNvPr id="9" name="Platshållare för innehåll 8"/>
          <p:cNvSpPr>
            <a:spLocks noGrp="1"/>
          </p:cNvSpPr>
          <p:nvPr>
            <p:ph sz="quarter" idx="14"/>
          </p:nvPr>
        </p:nvSpPr>
        <p:spPr>
          <a:xfrm>
            <a:off x="478367" y="1422400"/>
            <a:ext cx="5520267" cy="4538133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6193367" y="1422400"/>
            <a:ext cx="5520267" cy="4538133"/>
          </a:xfrm>
        </p:spPr>
        <p:txBody>
          <a:bodyPr/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6" name="Platshållare för datum 5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E1D581F-AAD9-4E38-9064-36AA005862D6}" type="datetime1">
              <a:rPr lang="sv-SE" smtClean="0"/>
              <a:t>2023-12-11</a:t>
            </a:fld>
            <a:endParaRPr lang="sv-SE"/>
          </a:p>
        </p:txBody>
      </p:sp>
      <p:sp>
        <p:nvSpPr>
          <p:cNvPr id="7" name="Platshållare för sidfot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sv-SE"/>
              <a:t>Sidfotstext (ändras under Meny Infoga och knappen Sidhuvud/Sidfot)</a:t>
            </a:r>
          </a:p>
        </p:txBody>
      </p:sp>
      <p:sp>
        <p:nvSpPr>
          <p:cNvPr id="10" name="Platshållare för bildnumm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7383526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158734E-4813-43FC-B3D7-708F2C578A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5934242"/>
              </p:ext>
            </p:extLst>
          </p:nvPr>
        </p:nvGraphicFramePr>
        <p:xfrm>
          <a:off x="1810" y="1440"/>
          <a:ext cx="1811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158734E-4813-43FC-B3D7-708F2C578A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810" y="1440"/>
                        <a:ext cx="1811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>
          <a:xfrm>
            <a:off x="430974" y="525"/>
            <a:ext cx="11328456" cy="79944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32" name="Fußzeilenplatzhalter 31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sv-SE"/>
              <a:t>Sidfotstext (ändras under Meny Infoga och knappen Sidhuvud/Sidfot)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430974" y="1152604"/>
            <a:ext cx="11328456" cy="4866689"/>
          </a:xfrm>
        </p:spPr>
        <p:txBody>
          <a:bodyPr/>
          <a:lstStyle>
            <a:lvl1pPr marL="163231" indent="-163231" rtl="0">
              <a:spcBef>
                <a:spcPts val="544"/>
              </a:spcBef>
              <a:buSzPct val="140000"/>
              <a:buFont typeface="Wingdings" pitchFamily="2" charset="2"/>
              <a:buChar char="§"/>
              <a:defRPr b="0"/>
            </a:lvl1pPr>
            <a:lvl2pPr marL="408078" rtl="0">
              <a:spcBef>
                <a:spcPts val="272"/>
              </a:spcBef>
              <a:buClr>
                <a:schemeClr val="accent5"/>
              </a:buClr>
              <a:defRPr sz="907"/>
            </a:lvl2pPr>
            <a:lvl3pPr marL="571309" rtl="0">
              <a:spcBef>
                <a:spcPts val="91"/>
              </a:spcBef>
              <a:buClr>
                <a:schemeClr val="accent6"/>
              </a:buClr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quarter" idx="18" hasCustomPrompt="1"/>
          </p:nvPr>
        </p:nvSpPr>
        <p:spPr>
          <a:xfrm>
            <a:off x="430974" y="801997"/>
            <a:ext cx="11328456" cy="261214"/>
          </a:xfrm>
        </p:spPr>
        <p:txBody>
          <a:bodyPr/>
          <a:lstStyle>
            <a:lvl1pPr algn="ctr" rtl="0">
              <a:spcBef>
                <a:spcPts val="0"/>
              </a:spcBef>
              <a:defRPr sz="127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2" name="Inhaltsplatzhalter 5"/>
          <p:cNvSpPr>
            <a:spLocks noGrp="1"/>
          </p:cNvSpPr>
          <p:nvPr>
            <p:ph sz="quarter" idx="19" hasCustomPrompt="1"/>
          </p:nvPr>
        </p:nvSpPr>
        <p:spPr>
          <a:xfrm>
            <a:off x="430974" y="525"/>
            <a:ext cx="11328456" cy="26061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5994" tIns="35994" rIns="35994" bIns="35994" numCol="1" anchor="t" anchorCtr="0" compatLnSpc="1">
            <a:prstTxWarp prst="textNoShape">
              <a:avLst/>
            </a:prstTxWarp>
          </a:bodyPr>
          <a:lstStyle>
            <a:lvl1pPr rtl="0">
              <a:spcBef>
                <a:spcPts val="0"/>
              </a:spcBef>
              <a:defRPr lang="de-DE" baseline="0" dirty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Subtopic</a:t>
            </a:r>
          </a:p>
        </p:txBody>
      </p:sp>
    </p:spTree>
    <p:extLst>
      <p:ext uri="{BB962C8B-B14F-4D97-AF65-F5344CB8AC3E}">
        <p14:creationId xmlns:p14="http://schemas.microsoft.com/office/powerpoint/2010/main" val="210569117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69316A8-D500-4468-BB03-EFEF89B593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8336404"/>
              </p:ext>
            </p:extLst>
          </p:nvPr>
        </p:nvGraphicFramePr>
        <p:xfrm>
          <a:off x="1810" y="1440"/>
          <a:ext cx="1811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69316A8-D500-4468-BB03-EFEF89B593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810" y="1440"/>
                        <a:ext cx="1811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430974" y="1152604"/>
            <a:ext cx="11328456" cy="486668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5994" tIns="35994" rIns="35994" bIns="35994" numCol="1" anchor="t" anchorCtr="0" compatLnSpc="1">
            <a:prstTxWarp prst="textNoShape">
              <a:avLst/>
            </a:prstTxWarp>
          </a:bodyPr>
          <a:lstStyle>
            <a:lvl1pPr rtl="0">
              <a:defRPr lang="de-DE" dirty="0" smtClean="0"/>
            </a:lvl1pPr>
            <a:lvl2pPr rtl="0">
              <a:defRPr lang="de-DE" dirty="0" smtClean="0"/>
            </a:lvl2pPr>
            <a:lvl3pPr rtl="0">
              <a:defRPr lang="de-DE" baseline="0" dirty="0" smtClean="0"/>
            </a:lvl3pPr>
            <a:lvl4pPr rtl="0">
              <a:defRPr lang="de-DE" baseline="0" dirty="0" smtClean="0"/>
            </a:lvl4pPr>
          </a:lstStyle>
          <a:p>
            <a:pPr lvl="0"/>
            <a:r>
              <a:rPr lang="en-US"/>
              <a:t>Running text </a:t>
            </a:r>
          </a:p>
          <a:p>
            <a:pPr lvl="1">
              <a:buClr>
                <a:srgbClr val="124046"/>
              </a:buClr>
            </a:pPr>
            <a:r>
              <a:rPr lang="en-US"/>
              <a:t>Bullet Point 1</a:t>
            </a:r>
          </a:p>
          <a:p>
            <a:pPr lvl="2"/>
            <a:r>
              <a:rPr lang="en-US"/>
              <a:t>Bullet Point 2</a:t>
            </a:r>
          </a:p>
          <a:p>
            <a:pPr lvl="3" indent="-163231"/>
            <a:r>
              <a:rPr lang="en-US"/>
              <a:t>Bullet Point 3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>
          <a:xfrm>
            <a:off x="430974" y="525"/>
            <a:ext cx="11328456" cy="79944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32" name="Fußzeilenplatzhalter 31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sv-SE"/>
              <a:t>Sidfotstext (ändras under Meny Infoga och knappen Sidhuvud/Sidfot)</a:t>
            </a:r>
            <a:endParaRPr lang="en-US"/>
          </a:p>
        </p:txBody>
      </p:sp>
      <p:sp>
        <p:nvSpPr>
          <p:cNvPr id="9" name="Inhaltsplatzhalter 5"/>
          <p:cNvSpPr>
            <a:spLocks noGrp="1"/>
          </p:cNvSpPr>
          <p:nvPr>
            <p:ph sz="quarter" idx="19" hasCustomPrompt="1"/>
          </p:nvPr>
        </p:nvSpPr>
        <p:spPr>
          <a:xfrm>
            <a:off x="430974" y="525"/>
            <a:ext cx="11328456" cy="26061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5994" tIns="35994" rIns="35994" bIns="35994" numCol="1" anchor="t" anchorCtr="0" compatLnSpc="1">
            <a:prstTxWarp prst="textNoShape">
              <a:avLst/>
            </a:prstTxWarp>
          </a:bodyPr>
          <a:lstStyle>
            <a:lvl1pPr rtl="0">
              <a:spcBef>
                <a:spcPts val="0"/>
              </a:spcBef>
              <a:defRPr lang="de-DE" baseline="0" dirty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Subtopic</a:t>
            </a:r>
          </a:p>
        </p:txBody>
      </p:sp>
      <p:sp>
        <p:nvSpPr>
          <p:cNvPr id="15" name="Inhaltsplatzhalter 3"/>
          <p:cNvSpPr>
            <a:spLocks noGrp="1"/>
          </p:cNvSpPr>
          <p:nvPr>
            <p:ph sz="quarter" idx="18" hasCustomPrompt="1"/>
          </p:nvPr>
        </p:nvSpPr>
        <p:spPr>
          <a:xfrm>
            <a:off x="430974" y="801997"/>
            <a:ext cx="11328456" cy="261214"/>
          </a:xfrm>
        </p:spPr>
        <p:txBody>
          <a:bodyPr/>
          <a:lstStyle>
            <a:lvl1pPr algn="ctr" rtl="0">
              <a:spcBef>
                <a:spcPts val="0"/>
              </a:spcBef>
              <a:defRPr sz="1270"/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26038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366" y="256511"/>
            <a:ext cx="11235268" cy="6319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25024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bild st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objekt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15728" y="486391"/>
            <a:ext cx="6508149" cy="5474144"/>
          </a:xfrm>
          <a:prstGeom prst="rect">
            <a:avLst/>
          </a:prstGeom>
        </p:spPr>
      </p:pic>
      <p:sp>
        <p:nvSpPr>
          <p:cNvPr id="6" name="Platshållare för datum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52CEC3-FC86-46CE-9817-7EE9CA0BA804}" type="datetime1">
              <a:rPr lang="sv-SE" smtClean="0"/>
              <a:t>2023-12-11</a:t>
            </a:fld>
            <a:endParaRPr lang="sv-SE"/>
          </a:p>
        </p:txBody>
      </p:sp>
      <p:sp>
        <p:nvSpPr>
          <p:cNvPr id="7" name="Platshållare för sidfo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idfotstext (ändras under Meny Infoga och knappen Sidhuvud/Sidfot)</a:t>
            </a:r>
          </a:p>
        </p:txBody>
      </p:sp>
      <p:sp>
        <p:nvSpPr>
          <p:cNvPr id="8" name="Platshållare för bild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9" name="Platshållare för text 6">
            <a:extLst>
              <a:ext uri="{FF2B5EF4-FFF2-40B4-BE49-F238E27FC236}">
                <a16:creationId xmlns:a16="http://schemas.microsoft.com/office/drawing/2014/main" id="{6594FF8A-2A2A-44E2-B9EB-82B758E745B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4503" y="4070401"/>
            <a:ext cx="4746365" cy="1617684"/>
          </a:xfrm>
        </p:spPr>
        <p:txBody>
          <a:bodyPr>
            <a:normAutofit/>
          </a:bodyPr>
          <a:lstStyle>
            <a:lvl1pPr algn="l">
              <a:defRPr sz="24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sv-SE"/>
              <a:t>Lägg till underrubrik</a:t>
            </a:r>
          </a:p>
        </p:txBody>
      </p:sp>
      <p:sp>
        <p:nvSpPr>
          <p:cNvPr id="11" name="Rubrik 1">
            <a:extLst>
              <a:ext uri="{FF2B5EF4-FFF2-40B4-BE49-F238E27FC236}">
                <a16:creationId xmlns:a16="http://schemas.microsoft.com/office/drawing/2014/main" id="{F2BDD225-FB17-4B0A-AE2B-37363251C0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503" y="1166400"/>
            <a:ext cx="4746365" cy="2736000"/>
          </a:xfrm>
        </p:spPr>
        <p:txBody>
          <a:bodyPr anchor="b"/>
          <a:lstStyle>
            <a:lvl1pPr>
              <a:lnSpc>
                <a:spcPct val="85000"/>
              </a:lnSpc>
              <a:defRPr sz="5333" kern="0" spc="-107" baseline="0"/>
            </a:lvl1pPr>
          </a:lstStyle>
          <a:p>
            <a:r>
              <a:rPr lang="sv-SE"/>
              <a:t>Klicka här </a:t>
            </a:r>
            <a:br>
              <a:rPr lang="sv-SE"/>
            </a:br>
            <a:r>
              <a:rPr lang="sv-SE"/>
              <a:t>för att lägga till rubrik</a:t>
            </a:r>
          </a:p>
        </p:txBody>
      </p:sp>
    </p:spTree>
    <p:extLst>
      <p:ext uri="{BB962C8B-B14F-4D97-AF65-F5344CB8AC3E}">
        <p14:creationId xmlns:p14="http://schemas.microsoft.com/office/powerpoint/2010/main" val="14665993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bild l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objekt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0001" y="208611"/>
            <a:ext cx="6433633" cy="5751924"/>
          </a:xfrm>
          <a:prstGeom prst="rect">
            <a:avLst/>
          </a:prstGeom>
        </p:spPr>
      </p:pic>
      <p:sp>
        <p:nvSpPr>
          <p:cNvPr id="6" name="Platshållare för datum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A24B38-5D6E-4F93-ACA1-34AA0CBAC1D5}" type="datetime1">
              <a:rPr lang="sv-SE" smtClean="0"/>
              <a:t>2023-12-11</a:t>
            </a:fld>
            <a:endParaRPr lang="sv-SE"/>
          </a:p>
        </p:txBody>
      </p:sp>
      <p:sp>
        <p:nvSpPr>
          <p:cNvPr id="7" name="Platshållare för sidfo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idfotstext (ändras under Meny Infoga och knappen Sidhuvud/Sidfot)</a:t>
            </a:r>
          </a:p>
        </p:txBody>
      </p:sp>
      <p:sp>
        <p:nvSpPr>
          <p:cNvPr id="8" name="Platshållare för bild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9" name="Platshållare för text 6">
            <a:extLst>
              <a:ext uri="{FF2B5EF4-FFF2-40B4-BE49-F238E27FC236}">
                <a16:creationId xmlns:a16="http://schemas.microsoft.com/office/drawing/2014/main" id="{78555E99-8B64-4C3F-9903-8C560D96D59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4503" y="4070401"/>
            <a:ext cx="4746365" cy="1617684"/>
          </a:xfrm>
        </p:spPr>
        <p:txBody>
          <a:bodyPr>
            <a:normAutofit/>
          </a:bodyPr>
          <a:lstStyle>
            <a:lvl1pPr algn="l">
              <a:defRPr sz="24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sv-SE"/>
              <a:t>Lägg till underrubrik</a:t>
            </a:r>
          </a:p>
        </p:txBody>
      </p:sp>
      <p:sp>
        <p:nvSpPr>
          <p:cNvPr id="11" name="Rubrik 1">
            <a:extLst>
              <a:ext uri="{FF2B5EF4-FFF2-40B4-BE49-F238E27FC236}">
                <a16:creationId xmlns:a16="http://schemas.microsoft.com/office/drawing/2014/main" id="{C2EF5A1E-45C5-452D-8034-0D050900FD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503" y="1166400"/>
            <a:ext cx="4746365" cy="2736000"/>
          </a:xfrm>
        </p:spPr>
        <p:txBody>
          <a:bodyPr anchor="b"/>
          <a:lstStyle>
            <a:lvl1pPr>
              <a:lnSpc>
                <a:spcPct val="85000"/>
              </a:lnSpc>
              <a:defRPr sz="5333" kern="0" spc="-107" baseline="0"/>
            </a:lvl1pPr>
          </a:lstStyle>
          <a:p>
            <a:r>
              <a:rPr lang="sv-SE"/>
              <a:t>Klicka här </a:t>
            </a:r>
            <a:br>
              <a:rPr lang="sv-SE"/>
            </a:br>
            <a:r>
              <a:rPr lang="sv-SE"/>
              <a:t>för att lägga till rubrik</a:t>
            </a:r>
          </a:p>
        </p:txBody>
      </p:sp>
    </p:spTree>
    <p:extLst>
      <p:ext uri="{BB962C8B-B14F-4D97-AF65-F5344CB8AC3E}">
        <p14:creationId xmlns:p14="http://schemas.microsoft.com/office/powerpoint/2010/main" val="13807824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bild 6"/>
          <p:cNvSpPr>
            <a:spLocks noGrp="1"/>
          </p:cNvSpPr>
          <p:nvPr>
            <p:ph type="pic" sz="quarter" idx="13"/>
          </p:nvPr>
        </p:nvSpPr>
        <p:spPr>
          <a:xfrm>
            <a:off x="6096001" y="478367"/>
            <a:ext cx="5617633" cy="5482167"/>
          </a:xfrm>
          <a:solidFill>
            <a:schemeClr val="accent5"/>
          </a:solidFill>
        </p:spPr>
        <p:txBody>
          <a:bodyPr tIns="72000" anchor="t" anchorCtr="0">
            <a:normAutofit/>
          </a:bodyPr>
          <a:lstStyle>
            <a:lvl1pPr algn="ctr">
              <a:defRPr sz="1333"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6" name="Platshållare för datum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D950FD5-1820-4A77-AC29-61BA4695E02C}" type="datetime1">
              <a:rPr lang="sv-SE" smtClean="0"/>
              <a:t>2023-12-11</a:t>
            </a:fld>
            <a:endParaRPr lang="sv-SE"/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sv-SE"/>
              <a:t>Sidfotstext (ändras under Meny Infoga och knappen Sidhuvud/Sidfot)</a:t>
            </a:r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text 6">
            <a:extLst>
              <a:ext uri="{FF2B5EF4-FFF2-40B4-BE49-F238E27FC236}">
                <a16:creationId xmlns:a16="http://schemas.microsoft.com/office/drawing/2014/main" id="{72885E4A-E791-4439-8013-A3993BF6E87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4503" y="4070401"/>
            <a:ext cx="4746365" cy="1617684"/>
          </a:xfrm>
        </p:spPr>
        <p:txBody>
          <a:bodyPr>
            <a:normAutofit/>
          </a:bodyPr>
          <a:lstStyle>
            <a:lvl1pPr algn="l">
              <a:defRPr sz="24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sv-SE"/>
              <a:t>Lägg till underrubrik</a:t>
            </a:r>
          </a:p>
        </p:txBody>
      </p:sp>
      <p:sp>
        <p:nvSpPr>
          <p:cNvPr id="13" name="Rubrik 1">
            <a:extLst>
              <a:ext uri="{FF2B5EF4-FFF2-40B4-BE49-F238E27FC236}">
                <a16:creationId xmlns:a16="http://schemas.microsoft.com/office/drawing/2014/main" id="{7B9B6E10-10FD-45EC-85CF-B16F26F6A0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503" y="1166400"/>
            <a:ext cx="4746365" cy="2736000"/>
          </a:xfrm>
        </p:spPr>
        <p:txBody>
          <a:bodyPr anchor="b"/>
          <a:lstStyle>
            <a:lvl1pPr>
              <a:lnSpc>
                <a:spcPct val="85000"/>
              </a:lnSpc>
              <a:defRPr sz="5333" kern="0" spc="-107" baseline="0"/>
            </a:lvl1pPr>
          </a:lstStyle>
          <a:p>
            <a:r>
              <a:rPr lang="sv-SE"/>
              <a:t>Klicka här </a:t>
            </a:r>
            <a:br>
              <a:rPr lang="sv-SE"/>
            </a:br>
            <a:r>
              <a:rPr lang="sv-SE"/>
              <a:t>för att lägga till rubrik</a:t>
            </a:r>
          </a:p>
        </p:txBody>
      </p:sp>
    </p:spTree>
    <p:extLst>
      <p:ext uri="{BB962C8B-B14F-4D97-AF65-F5344CB8AC3E}">
        <p14:creationId xmlns:p14="http://schemas.microsoft.com/office/powerpoint/2010/main" val="20216622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tshållare för bild 8">
            <a:extLst>
              <a:ext uri="{FF2B5EF4-FFF2-40B4-BE49-F238E27FC236}">
                <a16:creationId xmlns:a16="http://schemas.microsoft.com/office/drawing/2014/main" id="{F6FD5662-8F4A-4921-AC02-364146C361F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solidFill>
            <a:schemeClr val="accent5"/>
          </a:solidFill>
        </p:spPr>
        <p:txBody>
          <a:bodyPr tIns="72000" anchor="t">
            <a:normAutofit/>
          </a:bodyPr>
          <a:lstStyle>
            <a:lvl1pPr algn="ctr">
              <a:defRPr sz="1333"/>
            </a:lvl1pPr>
          </a:lstStyle>
          <a:p>
            <a:r>
              <a:rPr lang="sv-SE"/>
              <a:t>Klicka här och infoga bild via knappen Bild i menyflik Infoga</a:t>
            </a:r>
          </a:p>
        </p:txBody>
      </p:sp>
    </p:spTree>
    <p:extLst>
      <p:ext uri="{BB962C8B-B14F-4D97-AF65-F5344CB8AC3E}">
        <p14:creationId xmlns:p14="http://schemas.microsoft.com/office/powerpoint/2010/main" val="21789587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, fler pun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tshållare för text 5"/>
          <p:cNvSpPr>
            <a:spLocks noGrp="1"/>
          </p:cNvSpPr>
          <p:nvPr>
            <p:ph type="body" sz="quarter" idx="37" hasCustomPrompt="1"/>
          </p:nvPr>
        </p:nvSpPr>
        <p:spPr>
          <a:xfrm>
            <a:off x="7924801" y="480001"/>
            <a:ext cx="3769443" cy="696081"/>
          </a:xfrm>
          <a:ln w="31750">
            <a:solidFill>
              <a:schemeClr val="accent1"/>
            </a:solidFill>
            <a:miter lim="800000"/>
          </a:ln>
        </p:spPr>
        <p:txBody>
          <a:bodyPr lIns="144000" tIns="36000" anchor="ctr">
            <a:normAutofit/>
          </a:bodyPr>
          <a:lstStyle>
            <a:lvl1pPr>
              <a:lnSpc>
                <a:spcPct val="90000"/>
              </a:lnSpc>
              <a:defRPr sz="2133" b="1" spc="0" baseline="0">
                <a:latin typeface="+mn-lt"/>
              </a:defRPr>
            </a:lvl1pPr>
          </a:lstStyle>
          <a:p>
            <a:pPr lvl="0"/>
            <a:r>
              <a:rPr lang="sv-SE"/>
              <a:t>Lägg till rubrik</a:t>
            </a:r>
          </a:p>
        </p:txBody>
      </p:sp>
      <p:sp>
        <p:nvSpPr>
          <p:cNvPr id="42" name="Platshållare för text 40"/>
          <p:cNvSpPr>
            <a:spLocks noGrp="1"/>
          </p:cNvSpPr>
          <p:nvPr>
            <p:ph type="body" sz="quarter" idx="36" hasCustomPrompt="1"/>
          </p:nvPr>
        </p:nvSpPr>
        <p:spPr>
          <a:xfrm>
            <a:off x="7924800" y="1176081"/>
            <a:ext cx="3768000" cy="4763285"/>
          </a:xfrm>
          <a:ln w="31750">
            <a:solidFill>
              <a:schemeClr val="accent1"/>
            </a:solidFill>
            <a:miter lim="800000"/>
          </a:ln>
        </p:spPr>
        <p:txBody>
          <a:bodyPr lIns="144000" tIns="108000" rIns="108000" anchor="t">
            <a:noAutofit/>
          </a:bodyPr>
          <a:lstStyle>
            <a:lvl1pPr marL="287993" marR="0" indent="-287993" algn="l" defTabSz="609585" rtl="0" eaLnBrk="1" fontAlgn="auto" latinLnBrk="0" hangingPunct="1">
              <a:lnSpc>
                <a:spcPct val="95000"/>
              </a:lnSpc>
              <a:spcBef>
                <a:spcPts val="533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1867" b="0" baseline="0"/>
            </a:lvl1pPr>
          </a:lstStyle>
          <a:p>
            <a:pPr lvl="0"/>
            <a:r>
              <a:rPr lang="sv-SE"/>
              <a:t>Skriv in punktlista (om du istället vill ha löpande text kan du klicka bort listläget i menyn.</a:t>
            </a:r>
          </a:p>
        </p:txBody>
      </p:sp>
      <p:sp>
        <p:nvSpPr>
          <p:cNvPr id="7" name="Platshållare för bild 6"/>
          <p:cNvSpPr>
            <a:spLocks noGrp="1"/>
          </p:cNvSpPr>
          <p:nvPr>
            <p:ph type="pic" sz="quarter" idx="13"/>
          </p:nvPr>
        </p:nvSpPr>
        <p:spPr>
          <a:xfrm>
            <a:off x="478365" y="478367"/>
            <a:ext cx="6945600" cy="5482167"/>
          </a:xfrm>
          <a:solidFill>
            <a:schemeClr val="accent5"/>
          </a:solidFill>
        </p:spPr>
        <p:txBody>
          <a:bodyPr lIns="108000" tIns="108000" anchor="t">
            <a:normAutofit/>
          </a:bodyPr>
          <a:lstStyle>
            <a:lvl1pPr algn="ctr">
              <a:defRPr sz="1333"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2" name="Platshållare för datum 1"/>
          <p:cNvSpPr>
            <a:spLocks noGrp="1"/>
          </p:cNvSpPr>
          <p:nvPr>
            <p:ph type="dt" sz="half" idx="38"/>
          </p:nvPr>
        </p:nvSpPr>
        <p:spPr/>
        <p:txBody>
          <a:bodyPr/>
          <a:lstStyle/>
          <a:p>
            <a:fld id="{D61204B0-5C12-4624-AB85-6C99A493FB90}" type="datetime1">
              <a:rPr lang="sv-SE" smtClean="0"/>
              <a:t>2023-12-11</a:t>
            </a:fld>
            <a:endParaRPr lang="sv-SE"/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r>
              <a:rPr lang="sv-SE"/>
              <a:t>Sidfotstext (ändras under Meny Infoga och knappen Sidhuvud/Sidfot)</a:t>
            </a:r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Rubrik 1">
            <a:extLst>
              <a:ext uri="{FF2B5EF4-FFF2-40B4-BE49-F238E27FC236}">
                <a16:creationId xmlns:a16="http://schemas.microsoft.com/office/drawing/2014/main" id="{9831AA86-9433-43F4-85CE-3C7A7A46C2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0001" y="960000"/>
            <a:ext cx="4762500" cy="4521600"/>
          </a:xfrm>
          <a:effectLst/>
        </p:spPr>
        <p:txBody>
          <a:bodyPr anchor="ctr">
            <a:normAutofit/>
          </a:bodyPr>
          <a:lstStyle>
            <a:lvl1pPr algn="l">
              <a:lnSpc>
                <a:spcPct val="85000"/>
              </a:lnSpc>
              <a:defRPr sz="5333" kern="0" spc="-107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</a:t>
            </a:r>
            <a:br>
              <a:rPr lang="sv-SE"/>
            </a:br>
            <a:r>
              <a:rPr lang="sv-SE"/>
              <a:t>för att lägga till rubrik</a:t>
            </a:r>
          </a:p>
        </p:txBody>
      </p:sp>
    </p:spTree>
    <p:extLst>
      <p:ext uri="{BB962C8B-B14F-4D97-AF65-F5344CB8AC3E}">
        <p14:creationId xmlns:p14="http://schemas.microsoft.com/office/powerpoint/2010/main" val="33071782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2.png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478367" y="478365"/>
            <a:ext cx="11235267" cy="76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sv-SE"/>
              <a:t>Lägg till rubrik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478367" y="1352533"/>
            <a:ext cx="11235267" cy="46080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  <a:p>
            <a:pPr lvl="5"/>
            <a:r>
              <a:rPr lang="sv-SE"/>
              <a:t>Nivå sex</a:t>
            </a:r>
          </a:p>
          <a:p>
            <a:pPr lvl="6"/>
            <a:r>
              <a:rPr lang="sv-SE"/>
              <a:t>Nivå sju</a:t>
            </a:r>
          </a:p>
          <a:p>
            <a:pPr lvl="7"/>
            <a:r>
              <a:rPr lang="sv-SE"/>
              <a:t>Nivå åtta</a:t>
            </a:r>
          </a:p>
          <a:p>
            <a:pPr lvl="8"/>
            <a:r>
              <a:rPr lang="sv-SE"/>
              <a:t>Nivå nio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10331878" y="6292800"/>
            <a:ext cx="623988" cy="29443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33" i="0" spc="0" baseline="0">
                <a:solidFill>
                  <a:schemeClr val="accent1"/>
                </a:solidFill>
                <a:latin typeface="+mn-lt"/>
                <a:ea typeface="Arial" panose="00000500000000000000" pitchFamily="50" charset="0"/>
                <a:cs typeface="Arial" panose="00000500000000000000" pitchFamily="50" charset="0"/>
              </a:defRPr>
            </a:lvl1pPr>
          </a:lstStyle>
          <a:p>
            <a:fld id="{A5AC75F9-A37A-48DC-B9A9-54979B22C7B6}" type="datetime1">
              <a:rPr lang="sv-SE" smtClean="0"/>
              <a:t>2023-12-11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4284134" y="6292801"/>
            <a:ext cx="5930103" cy="294433"/>
          </a:xfrm>
          <a:prstGeom prst="rect">
            <a:avLst/>
          </a:prstGeom>
          <a:blipFill>
            <a:blip r:embed="rId3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wrap="square" lIns="0" tIns="0" rIns="108000" bIns="0" rtlCol="0" anchor="b" anchorCtr="0">
            <a:noAutofit/>
          </a:bodyPr>
          <a:lstStyle>
            <a:lvl1pPr algn="r">
              <a:defRPr sz="933" b="0" i="0" spc="0" baseline="0">
                <a:solidFill>
                  <a:schemeClr val="accent1"/>
                </a:solidFill>
                <a:latin typeface="+mn-lt"/>
                <a:ea typeface="Arial" panose="00000500000000000000" pitchFamily="50" charset="0"/>
                <a:cs typeface="Arial" panose="00000500000000000000" pitchFamily="50" charset="0"/>
              </a:defRPr>
            </a:lvl1pPr>
          </a:lstStyle>
          <a:p>
            <a:r>
              <a:rPr lang="sv-SE"/>
              <a:t>Sidfotstext (ändras under Meny Infoga och knappen Sidhuvud/Sidfot)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10955866" y="6262071"/>
            <a:ext cx="778935" cy="383819"/>
          </a:xfrm>
          <a:prstGeom prst="rect">
            <a:avLst/>
          </a:prstGeom>
          <a:noFill/>
        </p:spPr>
        <p:txBody>
          <a:bodyPr vert="horz" wrap="none" lIns="0" tIns="0" rIns="0" bIns="0" rtlCol="0" anchor="b" anchorCtr="0"/>
          <a:lstStyle>
            <a:lvl1pPr algn="r">
              <a:defRPr sz="2933" b="0" i="0">
                <a:solidFill>
                  <a:schemeClr val="accent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0000500000000000000" pitchFamily="50" charset="0"/>
              </a:defRPr>
            </a:lvl1pPr>
          </a:lstStyle>
          <a:p>
            <a:fld id="{E9DBCB7B-D4FD-EE41-85F0-B6F7A4EFC557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53EE280D-00E4-1B4E-DD41-7D1996C94400}"/>
              </a:ext>
            </a:extLst>
          </p:cNvPr>
          <p:cNvPicPr>
            <a:picLocks noChangeAspect="1"/>
          </p:cNvPicPr>
          <p:nvPr userDrawn="1"/>
        </p:nvPicPr>
        <p:blipFill>
          <a:blip r:embed="rId39"/>
          <a:stretch>
            <a:fillRect/>
          </a:stretch>
        </p:blipFill>
        <p:spPr>
          <a:xfrm>
            <a:off x="444973" y="6112859"/>
            <a:ext cx="2972196" cy="677869"/>
          </a:xfrm>
          <a:prstGeom prst="rect">
            <a:avLst/>
          </a:prstGeom>
        </p:spPr>
      </p:pic>
      <p:sp>
        <p:nvSpPr>
          <p:cNvPr id="7" name="MSIPCMContentMarking" descr="{&quot;HashCode&quot;:-1153307947,&quot;Placement&quot;:&quot;Footer&quot;,&quot;Top&quot;:522.0343,&quot;Left&quot;:435.1878,&quot;SlideWidth&quot;:960,&quot;SlideHeight&quot;:540}">
            <a:extLst>
              <a:ext uri="{FF2B5EF4-FFF2-40B4-BE49-F238E27FC236}">
                <a16:creationId xmlns:a16="http://schemas.microsoft.com/office/drawing/2014/main" id="{F8763BF6-1696-059A-E1D8-BAF1752017C9}"/>
              </a:ext>
            </a:extLst>
          </p:cNvPr>
          <p:cNvSpPr txBox="1"/>
          <p:nvPr userDrawn="1"/>
        </p:nvSpPr>
        <p:spPr>
          <a:xfrm>
            <a:off x="5526885" y="6629836"/>
            <a:ext cx="1138231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sv-SE" sz="800">
                <a:solidFill>
                  <a:srgbClr val="000000"/>
                </a:solidFill>
                <a:latin typeface="Calibri" panose="020F0502020204030204" pitchFamily="34" charset="0"/>
              </a:rPr>
              <a:t>Informationsklass: K2</a:t>
            </a:r>
            <a:endParaRPr lang="sv-SE" sz="800" err="1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5500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  <p:sldLayoutId id="2147483783" r:id="rId6"/>
    <p:sldLayoutId id="2147483784" r:id="rId7"/>
    <p:sldLayoutId id="2147483785" r:id="rId8"/>
    <p:sldLayoutId id="2147483786" r:id="rId9"/>
    <p:sldLayoutId id="2147483787" r:id="rId10"/>
    <p:sldLayoutId id="2147483788" r:id="rId11"/>
    <p:sldLayoutId id="2147483789" r:id="rId12"/>
    <p:sldLayoutId id="2147483790" r:id="rId13"/>
    <p:sldLayoutId id="2147483791" r:id="rId14"/>
    <p:sldLayoutId id="2147483792" r:id="rId15"/>
    <p:sldLayoutId id="2147483793" r:id="rId16"/>
    <p:sldLayoutId id="2147483794" r:id="rId17"/>
    <p:sldLayoutId id="2147483795" r:id="rId18"/>
    <p:sldLayoutId id="2147483796" r:id="rId19"/>
    <p:sldLayoutId id="2147483797" r:id="rId20"/>
    <p:sldLayoutId id="2147483798" r:id="rId21"/>
    <p:sldLayoutId id="2147483799" r:id="rId22"/>
    <p:sldLayoutId id="2147483800" r:id="rId23"/>
    <p:sldLayoutId id="2147483801" r:id="rId24"/>
    <p:sldLayoutId id="2147483802" r:id="rId25"/>
    <p:sldLayoutId id="2147483803" r:id="rId26"/>
    <p:sldLayoutId id="2147483804" r:id="rId27"/>
    <p:sldLayoutId id="2147483805" r:id="rId28"/>
    <p:sldLayoutId id="2147483806" r:id="rId29"/>
    <p:sldLayoutId id="2147483807" r:id="rId30"/>
    <p:sldLayoutId id="2147483808" r:id="rId31"/>
    <p:sldLayoutId id="2147483809" r:id="rId32"/>
    <p:sldLayoutId id="2147483810" r:id="rId33"/>
    <p:sldLayoutId id="2147483811" r:id="rId34"/>
    <p:sldLayoutId id="2147483818" r:id="rId35"/>
    <p:sldLayoutId id="2147483819" r:id="rId36"/>
  </p:sldLayoutIdLst>
  <p:hf hdr="0" ftr="0"/>
  <p:txStyles>
    <p:titleStyle>
      <a:lvl1pPr algn="l" defTabSz="609585" rtl="0" eaLnBrk="1" latinLnBrk="0" hangingPunct="1">
        <a:lnSpc>
          <a:spcPct val="85000"/>
        </a:lnSpc>
        <a:spcBef>
          <a:spcPct val="0"/>
        </a:spcBef>
        <a:buNone/>
        <a:defRPr sz="4000" b="1" i="0" kern="1200" spc="-107" baseline="0">
          <a:solidFill>
            <a:schemeClr val="accent1"/>
          </a:solidFill>
          <a:latin typeface="+mj-lt"/>
          <a:ea typeface="Georgia" charset="0"/>
          <a:cs typeface="Georgia" charset="0"/>
        </a:defRPr>
      </a:lvl1pPr>
    </p:titleStyle>
    <p:bodyStyle>
      <a:lvl1pPr marL="0" indent="0" algn="l" defTabSz="609585" rtl="0" eaLnBrk="1" latinLnBrk="0" hangingPunct="1">
        <a:spcBef>
          <a:spcPts val="1067"/>
        </a:spcBef>
        <a:buFont typeface="Arial"/>
        <a:buNone/>
        <a:defRPr sz="2133" kern="1200" spc="-27" baseline="0">
          <a:solidFill>
            <a:schemeClr val="accent1"/>
          </a:solidFill>
          <a:latin typeface="+mn-lt"/>
          <a:ea typeface="Arial" panose="00000500000000000000" pitchFamily="50" charset="0"/>
          <a:cs typeface="Arial" panose="00000500000000000000" pitchFamily="50" charset="0"/>
        </a:defRPr>
      </a:lvl1pPr>
      <a:lvl2pPr marL="191995" indent="-191995" algn="l" defTabSz="609585" rtl="0" eaLnBrk="1" latinLnBrk="0" hangingPunct="1">
        <a:spcBef>
          <a:spcPts val="800"/>
        </a:spcBef>
        <a:buFont typeface="Wingdings" charset="2"/>
        <a:buChar char="§"/>
        <a:defRPr sz="2133" kern="1200" spc="-27" baseline="0">
          <a:solidFill>
            <a:schemeClr val="accent1"/>
          </a:solidFill>
          <a:latin typeface="+mn-lt"/>
          <a:ea typeface="Arial" panose="00000500000000000000" pitchFamily="50" charset="0"/>
          <a:cs typeface="Arial" panose="00000500000000000000" pitchFamily="50" charset="0"/>
        </a:defRPr>
      </a:lvl2pPr>
      <a:lvl3pPr marL="383990" indent="-191995" algn="l" defTabSz="609585" rtl="0" eaLnBrk="1" latinLnBrk="0" hangingPunct="1">
        <a:spcBef>
          <a:spcPts val="133"/>
        </a:spcBef>
        <a:buFont typeface="Arial"/>
        <a:buChar char="–"/>
        <a:defRPr sz="1867" b="0" i="1" kern="1200" spc="-27" baseline="0">
          <a:solidFill>
            <a:schemeClr val="accent1"/>
          </a:solidFill>
          <a:latin typeface="+mn-lt"/>
          <a:ea typeface="Arial" panose="00000500000000000000" pitchFamily="50" charset="0"/>
          <a:cs typeface="Arial" panose="00000500000000000000" pitchFamily="50" charset="0"/>
        </a:defRPr>
      </a:lvl3pPr>
      <a:lvl4pPr marL="0" indent="0" algn="l" defTabSz="609585" rtl="0" eaLnBrk="1" latinLnBrk="0" hangingPunct="1">
        <a:spcBef>
          <a:spcPts val="800"/>
        </a:spcBef>
        <a:spcAft>
          <a:spcPts val="0"/>
        </a:spcAft>
        <a:buFontTx/>
        <a:buNone/>
        <a:defRPr sz="1867" b="0" i="0" kern="1200" spc="-27" baseline="0">
          <a:solidFill>
            <a:schemeClr val="accent1"/>
          </a:solidFill>
          <a:latin typeface="+mn-lt"/>
          <a:ea typeface="Arial" panose="00000500000000000000" pitchFamily="50" charset="0"/>
          <a:cs typeface="Arial" panose="00000500000000000000" pitchFamily="50" charset="0"/>
        </a:defRPr>
      </a:lvl4pPr>
      <a:lvl5pPr marL="167996" indent="-167996" algn="l" defTabSz="609585" rtl="0" eaLnBrk="1" latinLnBrk="0" hangingPunct="1">
        <a:spcBef>
          <a:spcPts val="533"/>
        </a:spcBef>
        <a:buFont typeface="Wingdings" panose="05000000000000000000" pitchFamily="2" charset="2"/>
        <a:buChar char="§"/>
        <a:defRPr sz="1867" i="0" kern="1200" spc="-27" baseline="0">
          <a:solidFill>
            <a:schemeClr val="accent1"/>
          </a:solidFill>
          <a:latin typeface="+mn-lt"/>
          <a:ea typeface="Arial" panose="00000500000000000000" pitchFamily="50" charset="0"/>
          <a:cs typeface="Arial" panose="00000500000000000000" pitchFamily="50" charset="0"/>
        </a:defRPr>
      </a:lvl5pPr>
      <a:lvl6pPr marL="335992" indent="-167996" algn="l" defTabSz="609585" rtl="0" eaLnBrk="1" latinLnBrk="0" hangingPunct="1">
        <a:spcBef>
          <a:spcPts val="133"/>
        </a:spcBef>
        <a:buFont typeface="Corbel" panose="020B0503020204020204" pitchFamily="34" charset="0"/>
        <a:buChar char="–"/>
        <a:defRPr sz="1600" i="1" kern="1200" spc="-27" baseline="0">
          <a:solidFill>
            <a:schemeClr val="accent1"/>
          </a:solidFill>
          <a:latin typeface="+mn-lt"/>
          <a:ea typeface="+mn-ea"/>
          <a:cs typeface="+mn-cs"/>
        </a:defRPr>
      </a:lvl6pPr>
      <a:lvl7pPr marL="0" indent="0" algn="l" defTabSz="609585" rtl="0" eaLnBrk="1" latinLnBrk="0" hangingPunct="1">
        <a:spcBef>
          <a:spcPts val="533"/>
        </a:spcBef>
        <a:buFont typeface="Wingdings" panose="05000000000000000000" pitchFamily="2" charset="2"/>
        <a:buNone/>
        <a:defRPr sz="1600" b="0" kern="1200" spc="-27" baseline="0">
          <a:solidFill>
            <a:schemeClr val="accent1"/>
          </a:solidFill>
          <a:latin typeface="+mn-lt"/>
          <a:ea typeface="+mn-ea"/>
          <a:cs typeface="+mn-cs"/>
        </a:defRPr>
      </a:lvl7pPr>
      <a:lvl8pPr marL="143996" indent="-143996" algn="l" defTabSz="609585" rtl="0" eaLnBrk="1" latinLnBrk="0" hangingPunct="1">
        <a:spcBef>
          <a:spcPts val="400"/>
        </a:spcBef>
        <a:buFont typeface="Wingdings" panose="05000000000000000000" pitchFamily="2" charset="2"/>
        <a:buChar char="§"/>
        <a:defRPr sz="1600" i="0" kern="1200" spc="-27" baseline="0">
          <a:solidFill>
            <a:schemeClr val="accent1"/>
          </a:solidFill>
          <a:latin typeface="+mn-lt"/>
          <a:ea typeface="+mn-ea"/>
          <a:cs typeface="+mn-cs"/>
        </a:defRPr>
      </a:lvl8pPr>
      <a:lvl9pPr marL="287993" indent="-143996" algn="l" defTabSz="609585" rtl="0" eaLnBrk="1" latinLnBrk="0" hangingPunct="1">
        <a:spcBef>
          <a:spcPts val="133"/>
        </a:spcBef>
        <a:buFont typeface="Corbel" panose="020B0503020204020204" pitchFamily="34" charset="0"/>
        <a:buChar char="–"/>
        <a:defRPr sz="1333" i="1" kern="1200" spc="-27" baseline="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5534">
          <p15:clr>
            <a:srgbClr val="F26B43"/>
          </p15:clr>
        </p15:guide>
        <p15:guide id="3" pos="226">
          <p15:clr>
            <a:srgbClr val="F26B43"/>
          </p15:clr>
        </p15:guide>
        <p15:guide id="4" orient="horz" pos="227">
          <p15:clr>
            <a:srgbClr val="F26B43"/>
          </p15:clr>
        </p15:guide>
        <p15:guide id="5" orient="horz" pos="2816">
          <p15:clr>
            <a:srgbClr val="F26B43"/>
          </p15:clr>
        </p15:guide>
        <p15:guide id="43" pos="2880">
          <p15:clr>
            <a:srgbClr val="F26B43"/>
          </p15:clr>
        </p15:guide>
        <p15:guide id="44" pos="584">
          <p15:clr>
            <a:srgbClr val="F26B43"/>
          </p15:clr>
        </p15:guide>
        <p15:guide id="45" pos="676">
          <p15:clr>
            <a:srgbClr val="F26B43"/>
          </p15:clr>
        </p15:guide>
        <p15:guide id="46" pos="1034">
          <p15:clr>
            <a:srgbClr val="F26B43"/>
          </p15:clr>
        </p15:guide>
        <p15:guide id="47" pos="1126">
          <p15:clr>
            <a:srgbClr val="F26B43"/>
          </p15:clr>
        </p15:guide>
        <p15:guide id="48" pos="1486">
          <p15:clr>
            <a:srgbClr val="F26B43"/>
          </p15:clr>
        </p15:guide>
        <p15:guide id="49" pos="1576">
          <p15:clr>
            <a:srgbClr val="F26B43"/>
          </p15:clr>
        </p15:guide>
        <p15:guide id="51" pos="1934">
          <p15:clr>
            <a:srgbClr val="F26B43"/>
          </p15:clr>
        </p15:guide>
        <p15:guide id="52" pos="2041">
          <p15:clr>
            <a:srgbClr val="F26B43"/>
          </p15:clr>
        </p15:guide>
        <p15:guide id="53" pos="2384">
          <p15:clr>
            <a:srgbClr val="F26B43"/>
          </p15:clr>
        </p15:guide>
        <p15:guide id="54" pos="2476">
          <p15:clr>
            <a:srgbClr val="F26B43"/>
          </p15:clr>
        </p15:guide>
        <p15:guide id="55" pos="2834">
          <p15:clr>
            <a:srgbClr val="F26B43"/>
          </p15:clr>
        </p15:guide>
        <p15:guide id="56" pos="2926">
          <p15:clr>
            <a:srgbClr val="F26B43"/>
          </p15:clr>
        </p15:guide>
        <p15:guide id="57" pos="3284">
          <p15:clr>
            <a:srgbClr val="F26B43"/>
          </p15:clr>
        </p15:guide>
        <p15:guide id="58" pos="3376">
          <p15:clr>
            <a:srgbClr val="F26B43"/>
          </p15:clr>
        </p15:guide>
        <p15:guide id="59" pos="3734">
          <p15:clr>
            <a:srgbClr val="F26B43"/>
          </p15:clr>
        </p15:guide>
        <p15:guide id="60" pos="3826">
          <p15:clr>
            <a:srgbClr val="F26B43"/>
          </p15:clr>
        </p15:guide>
        <p15:guide id="61" pos="4184">
          <p15:clr>
            <a:srgbClr val="F26B43"/>
          </p15:clr>
        </p15:guide>
        <p15:guide id="62" pos="4274">
          <p15:clr>
            <a:srgbClr val="F26B43"/>
          </p15:clr>
        </p15:guide>
        <p15:guide id="63" pos="4634">
          <p15:clr>
            <a:srgbClr val="F26B43"/>
          </p15:clr>
        </p15:guide>
        <p15:guide id="64" pos="4726">
          <p15:clr>
            <a:srgbClr val="F26B43"/>
          </p15:clr>
        </p15:guide>
        <p15:guide id="65" pos="5084">
          <p15:clr>
            <a:srgbClr val="F26B43"/>
          </p15:clr>
        </p15:guide>
        <p15:guide id="66" pos="5176">
          <p15:clr>
            <a:srgbClr val="F26B43"/>
          </p15:clr>
        </p15:guide>
        <p15:guide id="68" orient="horz" pos="638">
          <p15:clr>
            <a:srgbClr val="F26B43"/>
          </p15:clr>
        </p15:guide>
        <p15:guide id="69" orient="horz" pos="1002">
          <p15:clr>
            <a:srgbClr val="F26B43"/>
          </p15:clr>
        </p15:guide>
        <p15:guide id="70" orient="horz" pos="1092">
          <p15:clr>
            <a:srgbClr val="F26B43"/>
          </p15:clr>
        </p15:guide>
        <p15:guide id="71" orient="horz" pos="1457">
          <p15:clr>
            <a:srgbClr val="F26B43"/>
          </p15:clr>
        </p15:guide>
        <p15:guide id="72" orient="horz" pos="1547">
          <p15:clr>
            <a:srgbClr val="F26B43"/>
          </p15:clr>
        </p15:guide>
        <p15:guide id="73" orient="horz" pos="1908">
          <p15:clr>
            <a:srgbClr val="F26B43"/>
          </p15:clr>
        </p15:guide>
        <p15:guide id="74" orient="horz" pos="2000">
          <p15:clr>
            <a:srgbClr val="F26B43"/>
          </p15:clr>
        </p15:guide>
        <p15:guide id="75" orient="horz" pos="2363">
          <p15:clr>
            <a:srgbClr val="F26B43"/>
          </p15:clr>
        </p15:guide>
        <p15:guide id="76" orient="horz" pos="2454">
          <p15:clr>
            <a:srgbClr val="F26B43"/>
          </p15:clr>
        </p15:guide>
        <p15:guide id="77" orient="horz" pos="3094">
          <p15:clr>
            <a:srgbClr val="F26B43"/>
          </p15:clr>
        </p15:guide>
        <p15:guide id="78" orient="horz" pos="290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4.xml"/><Relationship Id="rId6" Type="http://schemas.openxmlformats.org/officeDocument/2006/relationships/image" Target="../media/image8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mailto:press@lansforsakringar.se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>
            <a:extLst>
              <a:ext uri="{FF2B5EF4-FFF2-40B4-BE49-F238E27FC236}">
                <a16:creationId xmlns:a16="http://schemas.microsoft.com/office/drawing/2014/main" id="{2EF0F8F9-206C-3300-52F3-A3EBE1A9195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7B10859-E299-4CB4-B534-04E49950A8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Uträknin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F2EDEB7-A48A-4D77-B837-7A3C3AA8D6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sv-SE" sz="2800" b="0" i="0" dirty="0">
                <a:effectLst/>
                <a:latin typeface="Intro Cond" panose="00000500000000000000" pitchFamily="50" charset="0"/>
              </a:rPr>
              <a:t>Kvinnor arbetar 25 timmer mer per </a:t>
            </a:r>
            <a:r>
              <a:rPr lang="sv-SE" sz="2800" dirty="0">
                <a:latin typeface="Intro Cond" panose="00000500000000000000" pitchFamily="50" charset="0"/>
              </a:rPr>
              <a:t>månad med obetalt arbete jämfört med män. Uträkningen visar hur</a:t>
            </a:r>
            <a:r>
              <a:rPr lang="sv-SE" sz="2800" b="0" i="0" dirty="0">
                <a:effectLst/>
                <a:latin typeface="Intro Cond" panose="00000500000000000000" pitchFamily="50" charset="0"/>
              </a:rPr>
              <a:t> mycket extra lön och pension kvinnor </a:t>
            </a:r>
            <a:r>
              <a:rPr lang="sv-SE" sz="2800" dirty="0">
                <a:latin typeface="Intro Cond" panose="00000500000000000000" pitchFamily="50" charset="0"/>
              </a:rPr>
              <a:t>skulle få </a:t>
            </a:r>
            <a:r>
              <a:rPr lang="sv-SE" sz="2800" b="0" i="0" dirty="0">
                <a:effectLst/>
                <a:latin typeface="Intro Cond" panose="00000500000000000000" pitchFamily="50" charset="0"/>
              </a:rPr>
              <a:t>om de fick betalt för dessa timmar. 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4897468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>
            <a:extLst>
              <a:ext uri="{FF2B5EF4-FFF2-40B4-BE49-F238E27FC236}">
                <a16:creationId xmlns:a16="http://schemas.microsoft.com/office/drawing/2014/main" id="{752B8FCE-1B22-47BD-9FA2-CC2A486C5E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248030" y="1441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1" name="Object 30" hidden="1">
                        <a:extLst>
                          <a:ext uri="{FF2B5EF4-FFF2-40B4-BE49-F238E27FC236}">
                            <a16:creationId xmlns:a16="http://schemas.microsoft.com/office/drawing/2014/main" id="{752B8FCE-1B22-47BD-9FA2-CC2A486C5E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48030" y="1441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ubrik 3">
            <a:extLst>
              <a:ext uri="{FF2B5EF4-FFF2-40B4-BE49-F238E27FC236}">
                <a16:creationId xmlns:a16="http://schemas.microsoft.com/office/drawing/2014/main" id="{AD1DC6C6-7715-B456-F294-7C6A7C88E8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1587" y="1603866"/>
            <a:ext cx="8181642" cy="768000"/>
          </a:xfrm>
        </p:spPr>
        <p:txBody>
          <a:bodyPr/>
          <a:lstStyle/>
          <a:p>
            <a:pPr>
              <a:lnSpc>
                <a:spcPct val="200000"/>
              </a:lnSpc>
            </a:pPr>
            <a:br>
              <a:rPr lang="sv-SE" sz="1800" b="0" dirty="0">
                <a:latin typeface="+mn-lt"/>
              </a:rPr>
            </a:br>
            <a:endParaRPr lang="sv-SE" sz="1800" b="0" dirty="0">
              <a:latin typeface="+mn-lt"/>
            </a:endParaRP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B8922344-4C02-1DC8-F6D0-A7278ED808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CCA4E2-F5DD-453E-ACE3-8A4449E1CC17}" type="datetime1">
              <a:rPr lang="sv-SE" smtClean="0"/>
              <a:t>2023-12-11</a:t>
            </a:fld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2CC2F9B1-D1BF-811B-79B8-7925D6503D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2</a:t>
            </a:fld>
            <a:endParaRPr lang="sv-SE"/>
          </a:p>
        </p:txBody>
      </p:sp>
      <p:graphicFrame>
        <p:nvGraphicFramePr>
          <p:cNvPr id="2" name="Tabell 1">
            <a:extLst>
              <a:ext uri="{FF2B5EF4-FFF2-40B4-BE49-F238E27FC236}">
                <a16:creationId xmlns:a16="http://schemas.microsoft.com/office/drawing/2014/main" id="{E176C5AF-6F1C-BF55-9EB8-3694C1D5BC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3761973"/>
              </p:ext>
            </p:extLst>
          </p:nvPr>
        </p:nvGraphicFramePr>
        <p:xfrm>
          <a:off x="5125053" y="16192"/>
          <a:ext cx="6333688" cy="6825616"/>
        </p:xfrm>
        <a:graphic>
          <a:graphicData uri="http://schemas.openxmlformats.org/drawingml/2006/table">
            <a:tbl>
              <a:tblPr firstRow="1" firstCol="1" bandRow="1">
                <a:tableStyleId>{22838BEF-8BB2-4498-84A7-C5851F593DF1}</a:tableStyleId>
              </a:tblPr>
              <a:tblGrid>
                <a:gridCol w="1171123">
                  <a:extLst>
                    <a:ext uri="{9D8B030D-6E8A-4147-A177-3AD203B41FA5}">
                      <a16:colId xmlns:a16="http://schemas.microsoft.com/office/drawing/2014/main" val="1007157683"/>
                    </a:ext>
                  </a:extLst>
                </a:gridCol>
                <a:gridCol w="1188152">
                  <a:extLst>
                    <a:ext uri="{9D8B030D-6E8A-4147-A177-3AD203B41FA5}">
                      <a16:colId xmlns:a16="http://schemas.microsoft.com/office/drawing/2014/main" val="2108552438"/>
                    </a:ext>
                  </a:extLst>
                </a:gridCol>
                <a:gridCol w="1134975">
                  <a:extLst>
                    <a:ext uri="{9D8B030D-6E8A-4147-A177-3AD203B41FA5}">
                      <a16:colId xmlns:a16="http://schemas.microsoft.com/office/drawing/2014/main" val="1698848979"/>
                    </a:ext>
                  </a:extLst>
                </a:gridCol>
                <a:gridCol w="1295072">
                  <a:extLst>
                    <a:ext uri="{9D8B030D-6E8A-4147-A177-3AD203B41FA5}">
                      <a16:colId xmlns:a16="http://schemas.microsoft.com/office/drawing/2014/main" val="512857294"/>
                    </a:ext>
                  </a:extLst>
                </a:gridCol>
                <a:gridCol w="1544366">
                  <a:extLst>
                    <a:ext uri="{9D8B030D-6E8A-4147-A177-3AD203B41FA5}">
                      <a16:colId xmlns:a16="http://schemas.microsoft.com/office/drawing/2014/main" val="4268589845"/>
                    </a:ext>
                  </a:extLst>
                </a:gridCol>
              </a:tblGrid>
              <a:tr h="151008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Yrke</a:t>
                      </a:r>
                      <a:endParaRPr lang="sv-SE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624" marR="42624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solidFill>
                            <a:schemeClr val="tx1"/>
                          </a:solidFill>
                          <a:effectLst/>
                        </a:rPr>
                        <a:t>Månadslön, brutto</a:t>
                      </a:r>
                      <a:endParaRPr lang="sv-SE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624" marR="42624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b="1" kern="1200" dirty="0">
                          <a:solidFill>
                            <a:schemeClr val="tx1"/>
                          </a:solidFill>
                          <a:effectLst/>
                        </a:rPr>
                        <a:t>Så mycket extra lön skulle den som fick betalt för 25 timmars obetalt hemarbete i hemmet skulle tjäna per månad (brutto).</a:t>
                      </a:r>
                      <a:endParaRPr lang="sv-SE" sz="1000" b="1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2624" marR="42624" marT="0" marB="0"/>
                </a:tc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b="1" kern="1200" dirty="0">
                          <a:solidFill>
                            <a:schemeClr val="tx1"/>
                          </a:solidFill>
                          <a:effectLst/>
                        </a:rPr>
                        <a:t>Så mycket extra pension skulle den som fick betalt för 25 timmars obetalt i hemmet  skulle tjäna per månad </a:t>
                      </a:r>
                      <a:r>
                        <a:rPr lang="sv-SE" sz="1000" dirty="0">
                          <a:solidFill>
                            <a:schemeClr val="tx1"/>
                          </a:solidFill>
                          <a:effectLst/>
                        </a:rPr>
                        <a:t>(netto).</a:t>
                      </a:r>
                      <a:endParaRPr lang="sv-SE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624" marR="42624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Så mycket behöver man kompensationsspara per månad fram till och med pensionen för den som tar större ansvar i hushållet (brutto).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 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 </a:t>
                      </a:r>
                      <a:endParaRPr lang="sv-SE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89" marR="6089" marT="6089" marB="6089"/>
                </a:tc>
                <a:extLst>
                  <a:ext uri="{0D108BD9-81ED-4DB2-BD59-A6C34878D82A}">
                    <a16:rowId xmlns:a16="http://schemas.microsoft.com/office/drawing/2014/main" val="2647612806"/>
                  </a:ext>
                </a:extLst>
              </a:tr>
              <a:tr h="572609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Medianlön</a:t>
                      </a:r>
                    </a:p>
                  </a:txBody>
                  <a:tcPr marL="42624" marR="4262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33 000 kr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 </a:t>
                      </a:r>
                      <a:endParaRPr lang="sv-SE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624" marR="4262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dirty="0">
                          <a:effectLst/>
                        </a:rPr>
                        <a:t>5 150 kr/mån</a:t>
                      </a:r>
                      <a:endParaRPr lang="sv-SE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624" marR="4262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dirty="0">
                          <a:effectLst/>
                        </a:rPr>
                        <a:t>1 200 kr/mån</a:t>
                      </a:r>
                      <a:endParaRPr lang="sv-SE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624" marR="4262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300 kr/mån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 </a:t>
                      </a:r>
                      <a:endParaRPr lang="sv-SE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89" marR="6089" marT="6089" marB="6089"/>
                </a:tc>
                <a:extLst>
                  <a:ext uri="{0D108BD9-81ED-4DB2-BD59-A6C34878D82A}">
                    <a16:rowId xmlns:a16="http://schemas.microsoft.com/office/drawing/2014/main" val="1585146037"/>
                  </a:ext>
                </a:extLst>
              </a:tr>
              <a:tr h="355243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b="1" kern="1200" dirty="0">
                          <a:solidFill>
                            <a:schemeClr val="tx1"/>
                          </a:solidFill>
                          <a:effectLst/>
                        </a:rPr>
                        <a:t>Undersköterska</a:t>
                      </a:r>
                      <a:endParaRPr lang="sv-SE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2624" marR="4262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29 000 kr</a:t>
                      </a:r>
                      <a:endParaRPr lang="sv-SE" sz="1000" dirty="0">
                        <a:effectLst/>
                        <a:latin typeface="Calibri" panose="020F050202020403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42624" marR="4262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4 531 kr/mån</a:t>
                      </a:r>
                      <a:endParaRPr lang="sv-SE" sz="1000" dirty="0">
                        <a:effectLst/>
                        <a:latin typeface="Calibri" panose="020F050202020403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42624" marR="4262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1 100 kr/mån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 </a:t>
                      </a:r>
                      <a:endParaRPr lang="sv-SE" sz="1000" dirty="0">
                        <a:effectLst/>
                        <a:latin typeface="Calibri" panose="020F050202020403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42624" marR="4262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300 kr/mån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 </a:t>
                      </a:r>
                      <a:endParaRPr lang="sv-SE" sz="1000" dirty="0">
                        <a:effectLst/>
                        <a:latin typeface="Calibri" panose="020F050202020403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089" marR="6089" marT="6089" marB="6089"/>
                </a:tc>
                <a:extLst>
                  <a:ext uri="{0D108BD9-81ED-4DB2-BD59-A6C34878D82A}">
                    <a16:rowId xmlns:a16="http://schemas.microsoft.com/office/drawing/2014/main" val="2431868353"/>
                  </a:ext>
                </a:extLst>
              </a:tr>
              <a:tr h="572609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Lärare</a:t>
                      </a:r>
                      <a:endParaRPr lang="sv-SE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624" marR="4262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38 000 kr</a:t>
                      </a:r>
                      <a:endParaRPr lang="sv-SE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624" marR="4262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5 937  kr/mån</a:t>
                      </a:r>
                      <a:endParaRPr lang="sv-SE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624" marR="4262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1 200 kr/mån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 </a:t>
                      </a:r>
                      <a:endParaRPr lang="sv-SE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624" marR="4262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300 kr/mån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 </a:t>
                      </a:r>
                      <a:endParaRPr lang="sv-SE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89" marR="6089" marT="6089" marB="6089"/>
                </a:tc>
                <a:extLst>
                  <a:ext uri="{0D108BD9-81ED-4DB2-BD59-A6C34878D82A}">
                    <a16:rowId xmlns:a16="http://schemas.microsoft.com/office/drawing/2014/main" val="3113661393"/>
                  </a:ext>
                </a:extLst>
              </a:tr>
              <a:tr h="572609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ST-läkare</a:t>
                      </a:r>
                      <a:endParaRPr lang="sv-SE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624" marR="4262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48 000 kr</a:t>
                      </a:r>
                      <a:endParaRPr lang="sv-SE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624" marR="4262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7 500 kr/mån</a:t>
                      </a:r>
                      <a:endParaRPr lang="sv-SE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624" marR="4262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4 500 kr/mån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 </a:t>
                      </a:r>
                      <a:endParaRPr lang="sv-SE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624" marR="4262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1 000 kr/mån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 </a:t>
                      </a:r>
                      <a:endParaRPr lang="sv-SE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89" marR="6089" marT="6089" marB="6089"/>
                </a:tc>
                <a:extLst>
                  <a:ext uri="{0D108BD9-81ED-4DB2-BD59-A6C34878D82A}">
                    <a16:rowId xmlns:a16="http://schemas.microsoft.com/office/drawing/2014/main" val="2190274780"/>
                  </a:ext>
                </a:extLst>
              </a:tr>
              <a:tr h="572609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effectLst/>
                        </a:rPr>
                        <a:t>Ingenjör</a:t>
                      </a:r>
                      <a:endParaRPr lang="sv-SE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624" marR="4262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effectLst/>
                        </a:rPr>
                        <a:t>55 000 kr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effectLst/>
                        </a:rPr>
                        <a:t> </a:t>
                      </a:r>
                      <a:endParaRPr lang="sv-SE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624" marR="4262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8 593  kr/mån</a:t>
                      </a:r>
                      <a:endParaRPr lang="sv-SE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624" marR="4262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4 500 kr/mån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 </a:t>
                      </a:r>
                      <a:endParaRPr lang="sv-SE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624" marR="4262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1 000 kr/mån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 </a:t>
                      </a:r>
                      <a:endParaRPr lang="sv-SE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89" marR="6089" marT="6089" marB="6089"/>
                </a:tc>
                <a:extLst>
                  <a:ext uri="{0D108BD9-81ED-4DB2-BD59-A6C34878D82A}">
                    <a16:rowId xmlns:a16="http://schemas.microsoft.com/office/drawing/2014/main" val="3223249708"/>
                  </a:ext>
                </a:extLst>
              </a:tr>
              <a:tr h="572609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effectLst/>
                        </a:rPr>
                        <a:t>Presschef</a:t>
                      </a:r>
                      <a:endParaRPr lang="sv-SE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624" marR="4262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effectLst/>
                        </a:rPr>
                        <a:t>65 000 kr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effectLst/>
                        </a:rPr>
                        <a:t> </a:t>
                      </a:r>
                      <a:endParaRPr lang="sv-SE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624" marR="4262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effectLst/>
                        </a:rPr>
                        <a:t>10 156  kr/mån</a:t>
                      </a:r>
                      <a:endParaRPr lang="sv-SE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624" marR="4262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5 000 kr/mån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 </a:t>
                      </a:r>
                      <a:endParaRPr lang="sv-SE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624" marR="4262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2 200 kr/mån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 </a:t>
                      </a:r>
                      <a:endParaRPr lang="sv-SE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89" marR="6089" marT="6089" marB="6089"/>
                </a:tc>
                <a:extLst>
                  <a:ext uri="{0D108BD9-81ED-4DB2-BD59-A6C34878D82A}">
                    <a16:rowId xmlns:a16="http://schemas.microsoft.com/office/drawing/2014/main" val="1317705839"/>
                  </a:ext>
                </a:extLst>
              </a:tr>
              <a:tr h="572609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Jurist </a:t>
                      </a:r>
                      <a:endParaRPr lang="sv-SE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624" marR="4262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75 000 kr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 </a:t>
                      </a:r>
                      <a:endParaRPr lang="sv-SE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624" marR="4262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11 700kr/mån</a:t>
                      </a:r>
                      <a:endParaRPr lang="sv-SE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624" marR="4262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5 200 kr/mån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 </a:t>
                      </a:r>
                      <a:endParaRPr lang="sv-SE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624" marR="4262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2 500 kr/mån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 </a:t>
                      </a:r>
                      <a:endParaRPr lang="sv-SE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89" marR="6089" marT="6089" marB="6089"/>
                </a:tc>
                <a:extLst>
                  <a:ext uri="{0D108BD9-81ED-4DB2-BD59-A6C34878D82A}">
                    <a16:rowId xmlns:a16="http://schemas.microsoft.com/office/drawing/2014/main" val="2335605343"/>
                  </a:ext>
                </a:extLst>
              </a:tr>
              <a:tr h="572609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effectLst/>
                        </a:rPr>
                        <a:t>Finanschef</a:t>
                      </a:r>
                      <a:endParaRPr lang="sv-SE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624" marR="4262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effectLst/>
                        </a:rPr>
                        <a:t>85 000 kr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>
                          <a:effectLst/>
                        </a:rPr>
                        <a:t> </a:t>
                      </a:r>
                      <a:endParaRPr lang="sv-SE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624" marR="4262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dirty="0">
                          <a:effectLst/>
                        </a:rPr>
                        <a:t>13 281 kr/mån</a:t>
                      </a:r>
                      <a:endParaRPr lang="sv-SE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624" marR="4262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5 600 kr/mån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 </a:t>
                      </a:r>
                      <a:endParaRPr lang="sv-SE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624" marR="4262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2 700 kr/mån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000" dirty="0">
                          <a:effectLst/>
                        </a:rPr>
                        <a:t> </a:t>
                      </a:r>
                      <a:endParaRPr lang="sv-SE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89" marR="6089" marT="6089" marB="6089"/>
                </a:tc>
                <a:extLst>
                  <a:ext uri="{0D108BD9-81ED-4DB2-BD59-A6C34878D82A}">
                    <a16:rowId xmlns:a16="http://schemas.microsoft.com/office/drawing/2014/main" val="1979268662"/>
                  </a:ext>
                </a:extLst>
              </a:tr>
            </a:tbl>
          </a:graphicData>
        </a:graphic>
      </p:graphicFrame>
      <p:sp>
        <p:nvSpPr>
          <p:cNvPr id="8" name="textruta 7">
            <a:extLst>
              <a:ext uri="{FF2B5EF4-FFF2-40B4-BE49-F238E27FC236}">
                <a16:creationId xmlns:a16="http://schemas.microsoft.com/office/drawing/2014/main" id="{12639172-B42E-FF8D-1700-3A267B0E98E4}"/>
              </a:ext>
            </a:extLst>
          </p:cNvPr>
          <p:cNvSpPr txBox="1"/>
          <p:nvPr/>
        </p:nvSpPr>
        <p:spPr>
          <a:xfrm>
            <a:off x="289046" y="1340723"/>
            <a:ext cx="3184242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400" i="1" dirty="0">
                <a:solidFill>
                  <a:schemeClr val="accent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Tabellen visar på hur </a:t>
            </a:r>
            <a:r>
              <a:rPr lang="sv-SE" sz="1400" i="1" dirty="0">
                <a:solidFill>
                  <a:schemeClr val="accent1"/>
                </a:solidFill>
                <a:effectLst/>
                <a:ea typeface="SimSun" panose="02010600030101010101" pitchFamily="2" charset="-122"/>
                <a:cs typeface="Times New Roman" panose="02020603050405020304" pitchFamily="18" charset="0"/>
              </a:rPr>
              <a:t>mycket en anställd inom olika yrken skulle ha tjänat  i lön och pension om hon hade fått betalt för de 25 timmars </a:t>
            </a:r>
            <a:r>
              <a:rPr lang="sv-SE" sz="1400" i="1" dirty="0">
                <a:solidFill>
                  <a:schemeClr val="accent1"/>
                </a:solidFill>
                <a:ea typeface="SimSun" panose="02010600030101010101" pitchFamily="2" charset="-122"/>
                <a:cs typeface="Times New Roman" panose="02020603050405020304" pitchFamily="18" charset="0"/>
              </a:rPr>
              <a:t>extraarbete hon utfört i hemmet </a:t>
            </a:r>
            <a:r>
              <a:rPr lang="sv-SE" sz="1400" i="1" dirty="0">
                <a:solidFill>
                  <a:schemeClr val="accent1"/>
                </a:solidFill>
                <a:effectLst/>
                <a:ea typeface="SimSun" panose="02010600030101010101" pitchFamily="2" charset="-122"/>
                <a:cs typeface="Times New Roman" panose="02020603050405020304" pitchFamily="18" charset="0"/>
              </a:rPr>
              <a:t>och hur mycket kompensationssparande som behövs för den som tar ett större ansvar i hushållet. </a:t>
            </a:r>
            <a:endParaRPr lang="sv-SE" sz="1400" i="1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sv-SE" sz="1400" i="1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400" i="1" dirty="0">
                <a:solidFill>
                  <a:schemeClr val="accent1"/>
                </a:solidFill>
              </a:rPr>
              <a:t>Enligt TID-rapporten arbetar kvinnor 152,4 timmar  och män 124,5 med obetalt arbete per månad. Det ger  28 timmars mer obetalt arbete för kvinnor.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sv-SE" sz="1400" i="1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400" i="1" dirty="0">
                <a:solidFill>
                  <a:schemeClr val="accent1"/>
                </a:solidFill>
              </a:rPr>
              <a:t>Vi har räknat med en premiebestämd tjänstepension, man går i pension vid 65 år och 5 % årlig real avkastning.</a:t>
            </a:r>
          </a:p>
        </p:txBody>
      </p:sp>
    </p:spTree>
    <p:extLst>
      <p:ext uri="{BB962C8B-B14F-4D97-AF65-F5344CB8AC3E}">
        <p14:creationId xmlns:p14="http://schemas.microsoft.com/office/powerpoint/2010/main" val="21573956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>
            <a:extLst>
              <a:ext uri="{FF2B5EF4-FFF2-40B4-BE49-F238E27FC236}">
                <a16:creationId xmlns:a16="http://schemas.microsoft.com/office/drawing/2014/main" id="{752B8FCE-1B22-47BD-9FA2-CC2A486C5E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248030" y="1441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1" name="Object 30" hidden="1">
                        <a:extLst>
                          <a:ext uri="{FF2B5EF4-FFF2-40B4-BE49-F238E27FC236}">
                            <a16:creationId xmlns:a16="http://schemas.microsoft.com/office/drawing/2014/main" id="{752B8FCE-1B22-47BD-9FA2-CC2A486C5E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48030" y="1441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ubrik 3">
            <a:extLst>
              <a:ext uri="{FF2B5EF4-FFF2-40B4-BE49-F238E27FC236}">
                <a16:creationId xmlns:a16="http://schemas.microsoft.com/office/drawing/2014/main" id="{AD1DC6C6-7715-B456-F294-7C6A7C88E8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200000"/>
              </a:lnSpc>
            </a:pPr>
            <a:br>
              <a:rPr lang="sv-SE" sz="1800" b="0" dirty="0">
                <a:latin typeface="+mn-lt"/>
              </a:rPr>
            </a:br>
            <a:endParaRPr lang="sv-SE" sz="1800" b="0" dirty="0">
              <a:latin typeface="+mn-lt"/>
            </a:endParaRP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B8922344-4C02-1DC8-F6D0-A7278ED808B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8CCA4E2-F5DD-453E-ACE3-8A4449E1CC17}" type="datetime1">
              <a:rPr lang="sv-SE" smtClean="0"/>
              <a:t>2023-12-11</a:t>
            </a:fld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2CC2F9B1-D1BF-811B-79B8-7925D6503DF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3</a:t>
            </a:fld>
            <a:endParaRPr lang="sv-SE"/>
          </a:p>
        </p:txBody>
      </p:sp>
      <p:sp>
        <p:nvSpPr>
          <p:cNvPr id="3" name="Rubrik 9">
            <a:extLst>
              <a:ext uri="{FF2B5EF4-FFF2-40B4-BE49-F238E27FC236}">
                <a16:creationId xmlns:a16="http://schemas.microsoft.com/office/drawing/2014/main" id="{3E43D021-F192-AF60-D5A8-ECB2C1E70607}"/>
              </a:ext>
            </a:extLst>
          </p:cNvPr>
          <p:cNvSpPr txBox="1">
            <a:spLocks/>
          </p:cNvSpPr>
          <p:nvPr/>
        </p:nvSpPr>
        <p:spPr>
          <a:xfrm>
            <a:off x="913528" y="1106105"/>
            <a:ext cx="5004671" cy="7535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000" b="1" i="0" kern="1200" spc="-107" baseline="0">
                <a:solidFill>
                  <a:schemeClr val="accent1"/>
                </a:solidFill>
                <a:latin typeface="+mj-lt"/>
                <a:ea typeface="Georgia" charset="0"/>
                <a:cs typeface="Georgia" charset="0"/>
              </a:defRPr>
            </a:lvl1pPr>
          </a:lstStyle>
          <a:p>
            <a:r>
              <a:rPr lang="sv-SE" sz="2400" dirty="0">
                <a:latin typeface="+mn-lt"/>
              </a:rPr>
              <a:t>Så mycket tid lägger kvinnor och män</a:t>
            </a:r>
            <a:br>
              <a:rPr lang="sv-SE" sz="2400" dirty="0">
                <a:latin typeface="+mn-lt"/>
              </a:rPr>
            </a:br>
            <a:r>
              <a:rPr lang="sv-SE" sz="2400" dirty="0">
                <a:latin typeface="+mn-lt"/>
              </a:rPr>
              <a:t>på det obetalda arbetet i hemmet.</a:t>
            </a:r>
          </a:p>
          <a:p>
            <a:endParaRPr lang="sv-SE" sz="2000" dirty="0">
              <a:latin typeface="+mn-lt"/>
            </a:endParaRPr>
          </a:p>
          <a:p>
            <a:endParaRPr lang="sv-SE" sz="2000" dirty="0">
              <a:latin typeface="+mn-lt"/>
            </a:endParaRPr>
          </a:p>
        </p:txBody>
      </p:sp>
      <p:sp>
        <p:nvSpPr>
          <p:cNvPr id="8" name="textruta 7">
            <a:extLst>
              <a:ext uri="{FF2B5EF4-FFF2-40B4-BE49-F238E27FC236}">
                <a16:creationId xmlns:a16="http://schemas.microsoft.com/office/drawing/2014/main" id="{12639172-B42E-FF8D-1700-3A267B0E98E4}"/>
              </a:ext>
            </a:extLst>
          </p:cNvPr>
          <p:cNvSpPr txBox="1"/>
          <p:nvPr/>
        </p:nvSpPr>
        <p:spPr>
          <a:xfrm>
            <a:off x="913529" y="2394897"/>
            <a:ext cx="4564482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i="1" dirty="0">
                <a:solidFill>
                  <a:schemeClr val="accent1"/>
                </a:solidFill>
              </a:rPr>
              <a:t>– </a:t>
            </a:r>
            <a:r>
              <a:rPr lang="sv-SE" i="1" dirty="0">
                <a:solidFill>
                  <a:schemeClr val="accent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Kvinnor står i högre grad för majoriteten av uttagna föräldradagar, tillfällig föräldrapenning och jobbar i högre grad deltid. Och hon blir också, möjligen som en konsekvens av detta, den som står för den största delen av det obetalda hushållsarbetet i hemmet - under hela året, säger Trifa Chireh</a:t>
            </a:r>
            <a:r>
              <a:rPr lang="sv-SE" sz="1800" i="1" dirty="0">
                <a:solidFill>
                  <a:schemeClr val="accent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 pensionsekonom på Länsförsäkringar. </a:t>
            </a:r>
            <a:endParaRPr lang="sv-SE" i="1" dirty="0">
              <a:solidFill>
                <a:schemeClr val="accent1"/>
              </a:solidFill>
            </a:endParaRP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186E3692-5714-F64F-D3F5-9E7C70F874A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86668" y="171364"/>
            <a:ext cx="4206551" cy="6268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66836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>
            <a:extLst>
              <a:ext uri="{FF2B5EF4-FFF2-40B4-BE49-F238E27FC236}">
                <a16:creationId xmlns:a16="http://schemas.microsoft.com/office/drawing/2014/main" id="{78142824-618F-EC80-9594-F831AABE27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501" y="332315"/>
            <a:ext cx="11235267" cy="768000"/>
          </a:xfrm>
        </p:spPr>
        <p:txBody>
          <a:bodyPr/>
          <a:lstStyle/>
          <a:p>
            <a:r>
              <a:rPr lang="sv-SE" b="0" dirty="0"/>
              <a:t>Kontaktuppgifter</a:t>
            </a:r>
          </a:p>
        </p:txBody>
      </p:sp>
      <p:sp>
        <p:nvSpPr>
          <p:cNvPr id="6" name="textruta 5">
            <a:extLst>
              <a:ext uri="{FF2B5EF4-FFF2-40B4-BE49-F238E27FC236}">
                <a16:creationId xmlns:a16="http://schemas.microsoft.com/office/drawing/2014/main" id="{785D7C4A-0101-567A-E429-89D333473026}"/>
              </a:ext>
            </a:extLst>
          </p:cNvPr>
          <p:cNvSpPr txBox="1"/>
          <p:nvPr/>
        </p:nvSpPr>
        <p:spPr>
          <a:xfrm>
            <a:off x="384500" y="3196342"/>
            <a:ext cx="7094285" cy="24776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189">
              <a:defRPr/>
            </a:pPr>
            <a:r>
              <a:rPr lang="de-DE" sz="16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ifa Chireh</a:t>
            </a:r>
          </a:p>
          <a:p>
            <a:pPr defTabSz="457189">
              <a:defRPr/>
            </a:pPr>
            <a:endParaRPr lang="de-DE" sz="900" b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457189">
              <a:defRPr/>
            </a:pPr>
            <a:r>
              <a:rPr lang="sv-SE" sz="120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ensionsekonom</a:t>
            </a:r>
            <a:endParaRPr lang="sv-SE" sz="120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defTabSz="457189">
              <a:defRPr/>
            </a:pPr>
            <a:r>
              <a:rPr lang="sv-SE" sz="120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Länsförsäkringar </a:t>
            </a:r>
          </a:p>
          <a:p>
            <a:pPr defTabSz="457189">
              <a:defRPr/>
            </a:pPr>
            <a:endParaRPr lang="de-DE" sz="900" b="1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defTabSz="457189">
              <a:defRPr/>
            </a:pPr>
            <a:r>
              <a:rPr lang="sv-SE" sz="120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ob.tel. 0730 – 94 28 52</a:t>
            </a:r>
          </a:p>
          <a:p>
            <a:pPr defTabSz="457189">
              <a:defRPr/>
            </a:pPr>
            <a:r>
              <a:rPr lang="sv-SE" sz="120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ail: </a:t>
            </a:r>
            <a:r>
              <a:rPr lang="sv-SE" sz="1200" u="sng">
                <a:solidFill>
                  <a:srgbClr val="0000FF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rifa.chireh@lansforsakringar.se</a:t>
            </a:r>
            <a:endParaRPr lang="sv-SE" sz="120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defTabSz="457189">
              <a:defRPr/>
            </a:pPr>
            <a:endParaRPr lang="nb-NO" sz="1200" b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457189">
              <a:defRPr/>
            </a:pPr>
            <a:endParaRPr lang="nb-NO" sz="1200" b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457189">
              <a:defRPr/>
            </a:pPr>
            <a:r>
              <a:rPr lang="sv-SE" sz="16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änsförsäkringar presskontakt</a:t>
            </a:r>
            <a:endParaRPr lang="nb-NO" sz="1600" b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457189">
              <a:defRPr/>
            </a:pPr>
            <a:endParaRPr lang="nb-NO" sz="900" b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457189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l. 08-588 418 50</a:t>
            </a:r>
            <a:endParaRPr lang="de-DE" sz="12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457189">
              <a:defRPr/>
            </a:pPr>
            <a:r>
              <a:rPr lang="sv-SE" sz="120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ail: </a:t>
            </a:r>
            <a:r>
              <a:rPr lang="sv-SE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press@lansforsakringar.se</a:t>
            </a:r>
            <a:r>
              <a:rPr lang="sv-SE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sv-SE" sz="1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Bildobjekt 1">
            <a:extLst>
              <a:ext uri="{FF2B5EF4-FFF2-40B4-BE49-F238E27FC236}">
                <a16:creationId xmlns:a16="http://schemas.microsoft.com/office/drawing/2014/main" id="{0A695A6A-4848-D292-0B3B-9222B69C96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4500" y="1148878"/>
            <a:ext cx="1704448" cy="1830445"/>
          </a:xfrm>
          <a:prstGeom prst="rect">
            <a:avLst/>
          </a:prstGeom>
        </p:spPr>
      </p:pic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013FADD8-D74A-6E79-C6EF-9430D01DFE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38FC5E-C10F-464C-82E4-2CF8676C5445}" type="datetime1">
              <a:rPr lang="sv-SE" smtClean="0"/>
              <a:t>2023-12-11</a:t>
            </a:fld>
            <a:endParaRPr lang="sv-SE" dirty="0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EC7EBC6-B6D1-B773-A443-E0E3D9D0D1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DBCB7B-D4FD-EE41-85F0-B6F7A4EFC557}" type="slidenum">
              <a:rPr lang="sv-SE" smtClean="0"/>
              <a:pPr/>
              <a:t>4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115059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änsförsäkringar">
  <a:themeElements>
    <a:clrScheme name="Länsförsäkringar">
      <a:dk1>
        <a:srgbClr val="000000"/>
      </a:dk1>
      <a:lt1>
        <a:srgbClr val="FFFFFF"/>
      </a:lt1>
      <a:dk2>
        <a:srgbClr val="00427A"/>
      </a:dk2>
      <a:lt2>
        <a:srgbClr val="DCDDDE"/>
      </a:lt2>
      <a:accent1>
        <a:srgbClr val="005AA0"/>
      </a:accent1>
      <a:accent2>
        <a:srgbClr val="E30613"/>
      </a:accent2>
      <a:accent3>
        <a:srgbClr val="4495D1"/>
      </a:accent3>
      <a:accent4>
        <a:srgbClr val="76BBE7"/>
      </a:accent4>
      <a:accent5>
        <a:srgbClr val="BADAF3"/>
      </a:accent5>
      <a:accent6>
        <a:srgbClr val="F15C5B"/>
      </a:accent6>
      <a:hlink>
        <a:srgbClr val="005AA0"/>
      </a:hlink>
      <a:folHlink>
        <a:srgbClr val="77817B"/>
      </a:folHlink>
    </a:clrScheme>
    <a:fontScheme name="LF PPT">
      <a:majorFont>
        <a:latin typeface="Lucida Bright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 w="38100">
          <a:noFill/>
          <a:miter lim="800000"/>
        </a:ln>
      </a:spPr>
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400" dirty="0">
            <a:solidFill>
              <a:schemeClr val="accent1"/>
            </a:solidFill>
            <a:latin typeface="Arial" charset="0"/>
            <a:ea typeface="Arial" charset="0"/>
            <a:cs typeface="Arial" charset="0"/>
          </a:defRPr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spDef>
    <a:lnDef>
      <a:spPr>
        <a:ln w="254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1500" dirty="0" err="1" smtClean="0">
            <a:solidFill>
              <a:schemeClr val="accent1"/>
            </a:solidFill>
          </a:defRPr>
        </a:defPPr>
      </a:lstStyle>
    </a:txDef>
  </a:objectDefaults>
  <a:extraClrSchemeLst/>
  <a:custClrLst>
    <a:custClr name="Länsförsäkringar Blå">
      <a:srgbClr val="005AA0"/>
    </a:custClr>
    <a:custClr>
      <a:srgbClr val="00427A"/>
    </a:custClr>
    <a:custClr>
      <a:srgbClr val="4495D1"/>
    </a:custClr>
    <a:custClr>
      <a:srgbClr val="76BBE7"/>
    </a:custClr>
    <a:custClr>
      <a:srgbClr val="BADAF3"/>
    </a:custClr>
    <a:custClr name="Länsförsäkringar Röd">
      <a:srgbClr val="E30613"/>
    </a:custClr>
    <a:custClr>
      <a:srgbClr val="910C19"/>
    </a:custClr>
    <a:custClr>
      <a:srgbClr val="F15C5B"/>
    </a:custClr>
    <a:custClr>
      <a:srgbClr val="F5989D"/>
    </a:custClr>
    <a:custClr>
      <a:srgbClr val="FAD5DB"/>
    </a:custClr>
  </a:custClrLst>
  <a:extLst>
    <a:ext uri="{05A4C25C-085E-4340-85A3-A5531E510DB2}">
      <thm15:themeFamily xmlns:thm15="http://schemas.microsoft.com/office/thememl/2012/main" name="Länsförsäkringar.potx" id="{E2F7003E-A596-4A41-99F7-6D2290B4A8B6}" vid="{E90ECE63-AA3C-464B-BFFE-68F3C0BE36B3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77D961A00E2E4FA0D595BEB3D58A2C" ma:contentTypeVersion="5" ma:contentTypeDescription="Create a new document." ma:contentTypeScope="" ma:versionID="354d6cd96d8c751455f8ae2296bd8977">
  <xsd:schema xmlns:xsd="http://www.w3.org/2001/XMLSchema" xmlns:xs="http://www.w3.org/2001/XMLSchema" xmlns:p="http://schemas.microsoft.com/office/2006/metadata/properties" xmlns:ns2="de7122e0-b103-4d06-8c27-d38ef21b5daf" xmlns:ns3="5e196d46-2daf-45a8-9770-2eeef33ba03c" targetNamespace="http://schemas.microsoft.com/office/2006/metadata/properties" ma:root="true" ma:fieldsID="e8a027efdd4b9128acd880525f7eac1e" ns2:_="" ns3:_="">
    <xsd:import namespace="de7122e0-b103-4d06-8c27-d38ef21b5daf"/>
    <xsd:import namespace="5e196d46-2daf-45a8-9770-2eeef33ba03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e7122e0-b103-4d06-8c27-d38ef21b5da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196d46-2daf-45a8-9770-2eeef33ba03c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44F5E84-6C55-471C-A1F4-D0E03F2C474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B48D971-2F44-422D-B460-C019818D780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e7122e0-b103-4d06-8c27-d38ef21b5daf"/>
    <ds:schemaRef ds:uri="5e196d46-2daf-45a8-9770-2eeef33ba03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72B2664-7E3C-4D5E-99E4-FBDD8FAD5FC5}">
  <ds:schemaRefs>
    <ds:schemaRef ds:uri="http://www.w3.org/XML/1998/namespace"/>
    <ds:schemaRef ds:uri="5e196d46-2daf-45a8-9770-2eeef33ba03c"/>
    <ds:schemaRef ds:uri="http://schemas.microsoft.com/office/2006/metadata/properties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purl.org/dc/terms/"/>
    <ds:schemaRef ds:uri="http://schemas.openxmlformats.org/package/2006/metadata/core-properties"/>
    <ds:schemaRef ds:uri="de7122e0-b103-4d06-8c27-d38ef21b5daf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HK ppttema 2.1</Template>
  <TotalTime>17962</TotalTime>
  <Words>500</Words>
  <Application>Microsoft Office PowerPoint</Application>
  <PresentationFormat>Bredbild</PresentationFormat>
  <Paragraphs>109</Paragraphs>
  <Slides>4</Slides>
  <Notes>4</Notes>
  <HiddenSlides>0</HiddenSlides>
  <MMClips>0</MMClips>
  <ScaleCrop>false</ScaleCrop>
  <HeadingPairs>
    <vt:vector size="8" baseType="variant">
      <vt:variant>
        <vt:lpstr>Använt teckensnitt</vt:lpstr>
      </vt:variant>
      <vt:variant>
        <vt:i4>7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4</vt:i4>
      </vt:variant>
    </vt:vector>
  </HeadingPairs>
  <TitlesOfParts>
    <vt:vector size="13" baseType="lpstr">
      <vt:lpstr>Arial</vt:lpstr>
      <vt:lpstr>Calibri</vt:lpstr>
      <vt:lpstr>Corbel</vt:lpstr>
      <vt:lpstr>Intro Cond</vt:lpstr>
      <vt:lpstr>Lucida Bright</vt:lpstr>
      <vt:lpstr>Source Sans Pro</vt:lpstr>
      <vt:lpstr>Wingdings</vt:lpstr>
      <vt:lpstr>Länsförsäkringar</vt:lpstr>
      <vt:lpstr>think-cell Slide</vt:lpstr>
      <vt:lpstr>Uträkning</vt:lpstr>
      <vt:lpstr> </vt:lpstr>
      <vt:lpstr> </vt:lpstr>
      <vt:lpstr>Kontaktuppgift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ushållens elräkningar  2023 och 2024</dc:title>
  <dc:creator>Stefan Westerberg</dc:creator>
  <cp:lastModifiedBy>Lena Bivner</cp:lastModifiedBy>
  <cp:revision>62</cp:revision>
  <dcterms:created xsi:type="dcterms:W3CDTF">2022-08-30T10:20:42Z</dcterms:created>
  <dcterms:modified xsi:type="dcterms:W3CDTF">2023-12-11T19:33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77D961A00E2E4FA0D595BEB3D58A2C</vt:lpwstr>
  </property>
  <property fmtid="{D5CDD505-2E9C-101B-9397-08002B2CF9AE}" pid="3" name="MediaServiceImageTags">
    <vt:lpwstr/>
  </property>
  <property fmtid="{D5CDD505-2E9C-101B-9397-08002B2CF9AE}" pid="4" name="MSIP_Label_4e0029e2-197c-4e5b-ad9c-d6d8a41011dc_Enabled">
    <vt:lpwstr>true</vt:lpwstr>
  </property>
  <property fmtid="{D5CDD505-2E9C-101B-9397-08002B2CF9AE}" pid="5" name="MSIP_Label_4e0029e2-197c-4e5b-ad9c-d6d8a41011dc_SetDate">
    <vt:lpwstr>2023-12-11T19:33:48Z</vt:lpwstr>
  </property>
  <property fmtid="{D5CDD505-2E9C-101B-9397-08002B2CF9AE}" pid="6" name="MSIP_Label_4e0029e2-197c-4e5b-ad9c-d6d8a41011dc_Method">
    <vt:lpwstr>Privileged</vt:lpwstr>
  </property>
  <property fmtid="{D5CDD505-2E9C-101B-9397-08002B2CF9AE}" pid="7" name="MSIP_Label_4e0029e2-197c-4e5b-ad9c-d6d8a41011dc_Name">
    <vt:lpwstr>Intern</vt:lpwstr>
  </property>
  <property fmtid="{D5CDD505-2E9C-101B-9397-08002B2CF9AE}" pid="8" name="MSIP_Label_4e0029e2-197c-4e5b-ad9c-d6d8a41011dc_SiteId">
    <vt:lpwstr>1e4e7cc6-7b26-46be-915e-cd1c8633e92f</vt:lpwstr>
  </property>
  <property fmtid="{D5CDD505-2E9C-101B-9397-08002B2CF9AE}" pid="9" name="MSIP_Label_4e0029e2-197c-4e5b-ad9c-d6d8a41011dc_ActionId">
    <vt:lpwstr>835556df-6256-49aa-bfca-69dfc6de08d4</vt:lpwstr>
  </property>
  <property fmtid="{D5CDD505-2E9C-101B-9397-08002B2CF9AE}" pid="10" name="MSIP_Label_4e0029e2-197c-4e5b-ad9c-d6d8a41011dc_ContentBits">
    <vt:lpwstr>2</vt:lpwstr>
  </property>
</Properties>
</file>